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mp4" ContentType="video/mp4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4.xml" ContentType="application/vnd.openxmlformats-officedocument.presentationml.notesSlide+xml"/>
  <Override PartName="/ppt/tags/tag14.xml" ContentType="application/vnd.openxmlformats-officedocument.presentationml.tags+xml"/>
  <Override PartName="/ppt/notesSlides/notesSlide25.xml" ContentType="application/vnd.openxmlformats-officedocument.presentationml.notesSlide+xml"/>
  <Override PartName="/ppt/tags/tag15.xml" ContentType="application/vnd.openxmlformats-officedocument.presentationml.tags+xml"/>
  <Override PartName="/ppt/notesSlides/notesSlide26.xml" ContentType="application/vnd.openxmlformats-officedocument.presentationml.notesSlide+xml"/>
  <Override PartName="/ppt/tags/tag16.xml" ContentType="application/vnd.openxmlformats-officedocument.presentationml.tags+xml"/>
  <Override PartName="/ppt/notesSlides/notesSlide27.xml" ContentType="application/vnd.openxmlformats-officedocument.presentationml.notesSlide+xml"/>
  <Override PartName="/ppt/tags/tag17.xml" ContentType="application/vnd.openxmlformats-officedocument.presentationml.tags+xml"/>
  <Override PartName="/ppt/notesSlides/notesSlide28.xml" ContentType="application/vnd.openxmlformats-officedocument.presentationml.notesSlide+xml"/>
  <Override PartName="/ppt/tags/tag18.xml" ContentType="application/vnd.openxmlformats-officedocument.presentationml.tags+xml"/>
  <Override PartName="/ppt/notesSlides/notesSlide29.xml" ContentType="application/vnd.openxmlformats-officedocument.presentationml.notesSlide+xml"/>
  <Override PartName="/ppt/tags/tag19.xml" ContentType="application/vnd.openxmlformats-officedocument.presentationml.tags+xml"/>
  <Override PartName="/ppt/notesSlides/notesSlide30.xml" ContentType="application/vnd.openxmlformats-officedocument.presentationml.notesSlide+xml"/>
  <Override PartName="/ppt/tags/tag20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</p:sldMasterIdLst>
  <p:notesMasterIdLst>
    <p:notesMasterId r:id="rId70"/>
  </p:notesMasterIdLst>
  <p:sldIdLst>
    <p:sldId id="373" r:id="rId2"/>
    <p:sldId id="465" r:id="rId3"/>
    <p:sldId id="547" r:id="rId4"/>
    <p:sldId id="551" r:id="rId5"/>
    <p:sldId id="549" r:id="rId6"/>
    <p:sldId id="554" r:id="rId7"/>
    <p:sldId id="632" r:id="rId8"/>
    <p:sldId id="633" r:id="rId9"/>
    <p:sldId id="634" r:id="rId10"/>
    <p:sldId id="635" r:id="rId11"/>
    <p:sldId id="600" r:id="rId12"/>
    <p:sldId id="490" r:id="rId13"/>
    <p:sldId id="550" r:id="rId14"/>
    <p:sldId id="641" r:id="rId15"/>
    <p:sldId id="636" r:id="rId16"/>
    <p:sldId id="637" r:id="rId17"/>
    <p:sldId id="638" r:id="rId18"/>
    <p:sldId id="639" r:id="rId19"/>
    <p:sldId id="640" r:id="rId20"/>
    <p:sldId id="270" r:id="rId21"/>
    <p:sldId id="403" r:id="rId22"/>
    <p:sldId id="404" r:id="rId23"/>
    <p:sldId id="405" r:id="rId24"/>
    <p:sldId id="564" r:id="rId25"/>
    <p:sldId id="560" r:id="rId26"/>
    <p:sldId id="569" r:id="rId27"/>
    <p:sldId id="594" r:id="rId28"/>
    <p:sldId id="595" r:id="rId29"/>
    <p:sldId id="577" r:id="rId30"/>
    <p:sldId id="571" r:id="rId31"/>
    <p:sldId id="572" r:id="rId32"/>
    <p:sldId id="573" r:id="rId33"/>
    <p:sldId id="579" r:id="rId34"/>
    <p:sldId id="574" r:id="rId35"/>
    <p:sldId id="644" r:id="rId36"/>
    <p:sldId id="645" r:id="rId37"/>
    <p:sldId id="580" r:id="rId38"/>
    <p:sldId id="581" r:id="rId39"/>
    <p:sldId id="622" r:id="rId40"/>
    <p:sldId id="642" r:id="rId41"/>
    <p:sldId id="643" r:id="rId42"/>
    <p:sldId id="618" r:id="rId43"/>
    <p:sldId id="575" r:id="rId44"/>
    <p:sldId id="576" r:id="rId45"/>
    <p:sldId id="582" r:id="rId46"/>
    <p:sldId id="583" r:id="rId47"/>
    <p:sldId id="584" r:id="rId48"/>
    <p:sldId id="586" r:id="rId49"/>
    <p:sldId id="585" r:id="rId50"/>
    <p:sldId id="587" r:id="rId51"/>
    <p:sldId id="588" r:id="rId52"/>
    <p:sldId id="589" r:id="rId53"/>
    <p:sldId id="626" r:id="rId54"/>
    <p:sldId id="627" r:id="rId55"/>
    <p:sldId id="628" r:id="rId56"/>
    <p:sldId id="629" r:id="rId57"/>
    <p:sldId id="630" r:id="rId58"/>
    <p:sldId id="631" r:id="rId59"/>
    <p:sldId id="590" r:id="rId60"/>
    <p:sldId id="592" r:id="rId61"/>
    <p:sldId id="446" r:id="rId62"/>
    <p:sldId id="448" r:id="rId63"/>
    <p:sldId id="596" r:id="rId64"/>
    <p:sldId id="601" r:id="rId65"/>
    <p:sldId id="597" r:id="rId66"/>
    <p:sldId id="599" r:id="rId67"/>
    <p:sldId id="598" r:id="rId68"/>
    <p:sldId id="486" r:id="rId69"/>
  </p:sldIdLst>
  <p:sldSz cx="9144000" cy="5143500" type="screen16x9"/>
  <p:notesSz cx="6858000" cy="9144000"/>
  <p:defaultTextStyle>
    <a:defPPr>
      <a:defRPr lang="zh-CN"/>
    </a:defPPr>
    <a:lvl1pPr marL="0" algn="l" defTabSz="65536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327682" algn="l" defTabSz="65536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655363" algn="l" defTabSz="65536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983043" algn="l" defTabSz="65536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310724" algn="l" defTabSz="65536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1638405" algn="l" defTabSz="65536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1966087" algn="l" defTabSz="65536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2293767" algn="l" defTabSz="65536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2621449" algn="l" defTabSz="65536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23">
          <p15:clr>
            <a:srgbClr val="A4A3A4"/>
          </p15:clr>
        </p15:guide>
        <p15:guide id="2" orient="horz" pos="1620">
          <p15:clr>
            <a:srgbClr val="A4A3A4"/>
          </p15:clr>
        </p15:guide>
        <p15:guide id="3" orient="horz" pos="2017">
          <p15:clr>
            <a:srgbClr val="A4A3A4"/>
          </p15:clr>
        </p15:guide>
        <p15:guide id="4" pos="2256">
          <p15:clr>
            <a:srgbClr val="A4A3A4"/>
          </p15:clr>
        </p15:guide>
        <p15:guide id="5" pos="158">
          <p15:clr>
            <a:srgbClr val="A4A3A4"/>
          </p15:clr>
        </p15:guide>
        <p15:guide id="6" pos="5602">
          <p15:clr>
            <a:srgbClr val="A4A3A4"/>
          </p15:clr>
        </p15:guide>
        <p15:guide id="7" pos="2880">
          <p15:clr>
            <a:srgbClr val="A4A3A4"/>
          </p15:clr>
        </p15:guide>
        <p15:guide id="8" pos="3504">
          <p15:clr>
            <a:srgbClr val="A4A3A4"/>
          </p15:clr>
        </p15:guide>
        <p15:guide id="9" orient="horz" pos="1621">
          <p15:clr>
            <a:srgbClr val="A4A3A4"/>
          </p15:clr>
        </p15:guide>
        <p15:guide id="10" orient="horz" pos="2019">
          <p15:clr>
            <a:srgbClr val="A4A3A4"/>
          </p15:clr>
        </p15:guide>
        <p15:guide id="11" orient="horz" pos="162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2ECDE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98" autoAdjust="0"/>
    <p:restoredTop sz="94984" autoAdjust="0"/>
  </p:normalViewPr>
  <p:slideViewPr>
    <p:cSldViewPr>
      <p:cViewPr>
        <p:scale>
          <a:sx n="117" d="100"/>
          <a:sy n="117" d="100"/>
        </p:scale>
        <p:origin x="864" y="536"/>
      </p:cViewPr>
      <p:guideLst>
        <p:guide orient="horz" pos="1223"/>
        <p:guide orient="horz" pos="1620"/>
        <p:guide orient="horz" pos="2017"/>
        <p:guide pos="2256"/>
        <p:guide pos="158"/>
        <p:guide pos="5602"/>
        <p:guide pos="2880"/>
        <p:guide pos="3504"/>
        <p:guide orient="horz" pos="1621"/>
        <p:guide orient="horz" pos="2019"/>
        <p:guide orient="horz" pos="1622"/>
      </p:guideLst>
    </p:cSldViewPr>
  </p:slideViewPr>
  <p:outlineViewPr>
    <p:cViewPr>
      <p:scale>
        <a:sx n="33" d="100"/>
        <a:sy n="33" d="100"/>
      </p:scale>
      <p:origin x="0" y="138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45005" cy="450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63" Type="http://schemas.openxmlformats.org/officeDocument/2006/relationships/slide" Target="slides/slide62.xml"/><Relationship Id="rId64" Type="http://schemas.openxmlformats.org/officeDocument/2006/relationships/slide" Target="slides/slide63.xml"/><Relationship Id="rId65" Type="http://schemas.openxmlformats.org/officeDocument/2006/relationships/slide" Target="slides/slide64.xml"/><Relationship Id="rId66" Type="http://schemas.openxmlformats.org/officeDocument/2006/relationships/slide" Target="slides/slide65.xml"/><Relationship Id="rId67" Type="http://schemas.openxmlformats.org/officeDocument/2006/relationships/slide" Target="slides/slide66.xml"/><Relationship Id="rId68" Type="http://schemas.openxmlformats.org/officeDocument/2006/relationships/slide" Target="slides/slide67.xml"/><Relationship Id="rId69" Type="http://schemas.openxmlformats.org/officeDocument/2006/relationships/slide" Target="slides/slide68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slide" Target="slides/slide53.xml"/><Relationship Id="rId55" Type="http://schemas.openxmlformats.org/officeDocument/2006/relationships/slide" Target="slides/slide54.xml"/><Relationship Id="rId56" Type="http://schemas.openxmlformats.org/officeDocument/2006/relationships/slide" Target="slides/slide55.xml"/><Relationship Id="rId57" Type="http://schemas.openxmlformats.org/officeDocument/2006/relationships/slide" Target="slides/slide56.xml"/><Relationship Id="rId58" Type="http://schemas.openxmlformats.org/officeDocument/2006/relationships/slide" Target="slides/slide57.xml"/><Relationship Id="rId59" Type="http://schemas.openxmlformats.org/officeDocument/2006/relationships/slide" Target="slides/slide58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70" Type="http://schemas.openxmlformats.org/officeDocument/2006/relationships/notesMaster" Target="notesMasters/notesMaster1.xml"/><Relationship Id="rId71" Type="http://schemas.openxmlformats.org/officeDocument/2006/relationships/presProps" Target="presProps.xml"/><Relationship Id="rId72" Type="http://schemas.openxmlformats.org/officeDocument/2006/relationships/viewProps" Target="viewProps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73" Type="http://schemas.openxmlformats.org/officeDocument/2006/relationships/theme" Target="theme/theme1.xml"/><Relationship Id="rId74" Type="http://schemas.openxmlformats.org/officeDocument/2006/relationships/tableStyles" Target="tableStyles.xml"/><Relationship Id="rId60" Type="http://schemas.openxmlformats.org/officeDocument/2006/relationships/slide" Target="slides/slide59.xml"/><Relationship Id="rId61" Type="http://schemas.openxmlformats.org/officeDocument/2006/relationships/slide" Target="slides/slide60.xml"/><Relationship Id="rId62" Type="http://schemas.openxmlformats.org/officeDocument/2006/relationships/slide" Target="slides/slide6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7F14C6-6623-4B81-9DE7-C4CD5A404445}" type="datetimeFigureOut">
              <a:rPr lang="zh-CN" altLang="en-US" smtClean="0"/>
              <a:t>16/6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E5EDFA-B20A-410D-A971-24A5E6E0552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527527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553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327682" algn="l" defTabSz="6553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655363" algn="l" defTabSz="6553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983043" algn="l" defTabSz="6553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1310724" algn="l" defTabSz="6553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638405" algn="l" defTabSz="6553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966087" algn="l" defTabSz="6553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293767" algn="l" defTabSz="6553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621449" algn="l" defTabSz="6553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5.xml"/></Relationships>
</file>

<file path=ppt/notesSlides/_rels/notesSlide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6.xml"/></Relationships>
</file>

<file path=ppt/notesSlides/_rels/notesSlide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2.xml"/></Relationships>
</file>

<file path=ppt/notesSlides/_rels/notesSlide3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3.xml"/></Relationships>
</file>

<file path=ppt/notesSlides/_rels/notesSlide3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4.xml"/></Relationships>
</file>

<file path=ppt/notesSlides/_rels/notesSlide3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6.xml"/></Relationships>
</file>

<file path=ppt/notesSlides/_rels/notesSlide4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7.xml"/></Relationships>
</file>

<file path=ppt/notesSlides/_rels/notesSlide4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8.xml"/></Relationships>
</file>

<file path=ppt/notesSlides/_rels/notesSlide4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2.xml"/></Relationships>
</file>

<file path=ppt/notesSlides/_rels/notesSlide4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3.xml"/></Relationships>
</file>

<file path=ppt/notesSlides/_rels/notesSlide4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4.xml"/></Relationships>
</file>

<file path=ppt/notesSlides/_rels/notesSlide4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5.xml"/></Relationships>
</file>

<file path=ppt/notesSlides/_rels/notesSlide4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7.xml"/></Relationships>
</file>

<file path=ppt/notesSlides/_rels/notesSlide4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8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CEE2E7-8353-43F4-A74F-61EB3F134B84}" type="slidenum">
              <a:rPr lang="zh-CN" altLang="en-US" smtClean="0"/>
              <a:pPr>
                <a:defRPr/>
              </a:pPr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4208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 smtClean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E97D9F88-8E5B-4C22-BF64-4EFB89BCE25B}" type="slidenum">
              <a:rPr lang="zh-CN" altLang="en-US">
                <a:solidFill>
                  <a:prstClr val="black"/>
                </a:solidFill>
              </a:rPr>
              <a:pPr/>
              <a:t>1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3621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414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3414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AC795DA5-0325-4BF1-AF31-A7BDF608537A}" type="slidenum">
              <a:rPr lang="zh-CN" altLang="en-US" smtClean="0">
                <a:latin typeface="Century Schoolbook" pitchFamily="18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zh-CN" altLang="en-US" smtClean="0">
              <a:latin typeface="Century Schoolbook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29690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CEE2E7-8353-43F4-A74F-61EB3F134B84}" type="slidenum">
              <a:rPr lang="zh-CN" altLang="en-US" smtClean="0"/>
              <a:pPr>
                <a:defRPr/>
              </a:pPr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4208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414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3414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AC795DA5-0325-4BF1-AF31-A7BDF608537A}" type="slidenum">
              <a:rPr lang="zh-CN" altLang="en-US" smtClean="0">
                <a:latin typeface="Century Schoolbook" pitchFamily="18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zh-CN" altLang="en-US" smtClean="0">
              <a:latin typeface="Century Schoolbook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29690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 smtClean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E97D9F88-8E5B-4C22-BF64-4EFB89BCE25B}" type="slidenum">
              <a:rPr lang="zh-CN" altLang="en-US">
                <a:solidFill>
                  <a:prstClr val="black"/>
                </a:solidFill>
              </a:rPr>
              <a:pPr/>
              <a:t>2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08634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 smtClean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E97D9F88-8E5B-4C22-BF64-4EFB89BCE25B}" type="slidenum">
              <a:rPr lang="zh-CN" altLang="en-US">
                <a:solidFill>
                  <a:prstClr val="black"/>
                </a:solidFill>
              </a:rPr>
              <a:pPr/>
              <a:t>2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9177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 smtClean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E97D9F88-8E5B-4C22-BF64-4EFB89BCE25B}" type="slidenum">
              <a:rPr lang="zh-CN" altLang="en-US">
                <a:solidFill>
                  <a:prstClr val="black"/>
                </a:solidFill>
              </a:rPr>
              <a:pPr/>
              <a:t>2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9177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 smtClean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E97D9F88-8E5B-4C22-BF64-4EFB89BCE25B}" type="slidenum">
              <a:rPr lang="zh-CN" altLang="en-US">
                <a:solidFill>
                  <a:prstClr val="black"/>
                </a:solidFill>
              </a:rPr>
              <a:pPr/>
              <a:t>2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9177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6675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dirty="0" smtClean="0"/>
              <a:t>传统图书馆解决纸质文献借阅服务问题，数字图书馆解决网络阅读服务问题，移动图书馆解决移动服务问题，借阅机解决阅读推广服务问题。</a:t>
            </a:r>
          </a:p>
        </p:txBody>
      </p:sp>
      <p:sp>
        <p:nvSpPr>
          <p:cNvPr id="156676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B1A07E-44DD-4199-8062-345EF1E44904}" type="slidenum">
              <a:rPr lang="zh-CN" altLang="en-US" smtClean="0">
                <a:latin typeface="Century Schoolbook" pitchFamily="18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zh-CN" altLang="en-US" smtClean="0">
              <a:latin typeface="Century Schoolbook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42134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 smtClean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E97D9F88-8E5B-4C22-BF64-4EFB89BCE25B}" type="slidenum">
              <a:rPr lang="zh-CN" altLang="en-US">
                <a:solidFill>
                  <a:prstClr val="black"/>
                </a:solidFill>
              </a:rPr>
              <a:pPr/>
              <a:t>2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9177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CEE2E7-8353-43F4-A74F-61EB3F134B84}" type="slidenum">
              <a:rPr lang="zh-CN" altLang="en-US" smtClean="0"/>
              <a:pPr>
                <a:defRPr/>
              </a:pPr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4208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CEE2E7-8353-43F4-A74F-61EB3F134B84}" type="slidenum">
              <a:rPr lang="zh-CN" altLang="en-US" smtClean="0"/>
              <a:pPr>
                <a:defRPr/>
              </a:pPr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42088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0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02404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fld id="{5B73359F-DDE8-4FDC-8BF7-2B7925A5673A}" type="slidenum">
              <a:rPr lang="zh-CN" altLang="en-US" smtClean="0"/>
              <a:pPr eaLnBrk="1" hangingPunct="1"/>
              <a:t>27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4217915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0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02404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fld id="{5B73359F-DDE8-4FDC-8BF7-2B7925A5673A}" type="slidenum">
              <a:rPr lang="zh-CN" altLang="en-US" smtClean="0"/>
              <a:pPr eaLnBrk="1" hangingPunct="1"/>
              <a:t>28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17237615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CEE2E7-8353-43F4-A74F-61EB3F134B84}" type="slidenum">
              <a:rPr lang="zh-CN" altLang="en-US" smtClean="0"/>
              <a:pPr>
                <a:defRPr/>
              </a:pPr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42088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59395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917DA37D-D557-4677-8B4C-491CBB191DDE}" type="slidenum">
              <a:rPr altLang="en-US">
                <a:solidFill>
                  <a:srgbClr val="000000"/>
                </a:solidFill>
              </a:rPr>
              <a:pPr/>
              <a:t>30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84548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63491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35A98090-3CE7-4E2D-86F4-D34E4A940757}" type="slidenum">
              <a:rPr altLang="en-US">
                <a:solidFill>
                  <a:srgbClr val="000000"/>
                </a:solidFill>
              </a:rPr>
              <a:pPr/>
              <a:t>31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81396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65539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>
            <a:prstTxWarp prst="textNoShape">
              <a:avLst/>
            </a:prstTxWarp>
          </a:bodyPr>
          <a:lstStyle/>
          <a:p>
            <a:endParaRPr lang="zh-CN" altLang="en-US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66287CDB-3A91-4229-AAB8-DE142F88830C}" type="slidenum">
              <a:rPr altLang="en-US">
                <a:solidFill>
                  <a:srgbClr val="000000"/>
                </a:solidFill>
              </a:rPr>
              <a:pPr/>
              <a:t>32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122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59395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917DA37D-D557-4677-8B4C-491CBB191DDE}" type="slidenum">
              <a:rPr altLang="en-US">
                <a:solidFill>
                  <a:srgbClr val="000000"/>
                </a:solidFill>
              </a:rPr>
              <a:pPr/>
              <a:t>33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84548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59395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917DA37D-D557-4677-8B4C-491CBB191DDE}" type="slidenum">
              <a:rPr altLang="en-US">
                <a:solidFill>
                  <a:srgbClr val="000000"/>
                </a:solidFill>
              </a:rPr>
              <a:pPr/>
              <a:t>34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84548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59395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917DA37D-D557-4677-8B4C-491CBB191DDE}" type="slidenum">
              <a:rPr altLang="en-US">
                <a:solidFill>
                  <a:srgbClr val="000000"/>
                </a:solidFill>
              </a:rPr>
              <a:pPr/>
              <a:t>35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8454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 smtClean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E97D9F88-8E5B-4C22-BF64-4EFB89BCE25B}" type="slidenum">
              <a:rPr lang="zh-CN" altLang="en-US">
                <a:solidFill>
                  <a:prstClr val="black"/>
                </a:solidFill>
              </a:rPr>
              <a:pPr/>
              <a:t>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91775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59395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917DA37D-D557-4677-8B4C-491CBB191DDE}" type="slidenum">
              <a:rPr altLang="en-US">
                <a:solidFill>
                  <a:srgbClr val="000000"/>
                </a:solidFill>
              </a:rPr>
              <a:pPr/>
              <a:t>36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84548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59395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917DA37D-D557-4677-8B4C-491CBB191DDE}" type="slidenum">
              <a:rPr altLang="en-US">
                <a:solidFill>
                  <a:srgbClr val="000000"/>
                </a:solidFill>
              </a:rPr>
              <a:pPr/>
              <a:t>37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84548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CEE2E7-8353-43F4-A74F-61EB3F134B84}" type="slidenum">
              <a:rPr lang="zh-CN" altLang="en-US" smtClean="0"/>
              <a:pPr>
                <a:defRPr/>
              </a:pPr>
              <a:t>3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42088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CEE2E7-8353-43F4-A74F-61EB3F134B84}" type="slidenum">
              <a:rPr lang="zh-CN" altLang="en-US" smtClean="0"/>
              <a:pPr>
                <a:defRPr/>
              </a:pPr>
              <a:t>4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42088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E5EDFA-B20A-410D-A971-24A5E6E05522}" type="slidenum">
              <a:rPr lang="zh-CN" altLang="en-US" smtClean="0"/>
              <a:t>4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50811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CEE2E7-8353-43F4-A74F-61EB3F134B84}" type="slidenum">
              <a:rPr lang="zh-CN" altLang="en-US" smtClean="0"/>
              <a:pPr>
                <a:defRPr/>
              </a:pPr>
              <a:t>4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42088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CEE2E7-8353-43F4-A74F-61EB3F134B84}" type="slidenum">
              <a:rPr lang="zh-CN" altLang="en-US" smtClean="0"/>
              <a:pPr>
                <a:defRPr/>
              </a:pPr>
              <a:t>5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42088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414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3414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AC795DA5-0325-4BF1-AF31-A7BDF608537A}" type="slidenum">
              <a:rPr lang="zh-CN" altLang="en-US" smtClean="0">
                <a:latin typeface="Century Schoolbook" pitchFamily="18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53</a:t>
            </a:fld>
            <a:endParaRPr lang="zh-CN" altLang="en-US" smtClean="0">
              <a:latin typeface="Century Schoolbook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33537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414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dirty="0" smtClean="0"/>
          </a:p>
        </p:txBody>
      </p:sp>
      <p:sp>
        <p:nvSpPr>
          <p:cNvPr id="13414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AC795DA5-0325-4BF1-AF31-A7BDF608537A}" type="slidenum">
              <a:rPr lang="zh-CN" altLang="en-US" smtClean="0">
                <a:latin typeface="Century Schoolbook" pitchFamily="18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54</a:t>
            </a:fld>
            <a:endParaRPr lang="zh-CN" altLang="en-US" smtClean="0">
              <a:latin typeface="Century Schoolbook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58523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414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dirty="0" smtClean="0"/>
          </a:p>
        </p:txBody>
      </p:sp>
      <p:sp>
        <p:nvSpPr>
          <p:cNvPr id="13414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AC795DA5-0325-4BF1-AF31-A7BDF608537A}" type="slidenum">
              <a:rPr lang="zh-CN" altLang="en-US" smtClean="0">
                <a:latin typeface="Century Schoolbook" pitchFamily="18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55</a:t>
            </a:fld>
            <a:endParaRPr lang="zh-CN" altLang="en-US" smtClean="0">
              <a:latin typeface="Century Schoolbook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6083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82B0DDE8-DF22-411E-BE5A-FF605AC1E76F}" type="slidenum">
              <a:rPr lang="en-US" altLang="zh-CN" smtClean="0">
                <a:ea typeface="宋体" charset="-122"/>
              </a:rPr>
              <a:pPr eaLnBrk="1" hangingPunct="1">
                <a:spcBef>
                  <a:spcPct val="0"/>
                </a:spcBef>
                <a:buFontTx/>
                <a:buNone/>
              </a:pPr>
              <a:t>4</a:t>
            </a:fld>
            <a:endParaRPr lang="en-US" altLang="zh-CN" smtClean="0">
              <a:ea typeface="宋体" charset="-122"/>
            </a:endParaRPr>
          </a:p>
        </p:txBody>
      </p:sp>
      <p:sp>
        <p:nvSpPr>
          <p:cNvPr id="144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144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>
              <a:latin typeface="Arial" charset="0"/>
              <a:ea typeface="宋体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4530379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414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dirty="0" smtClean="0"/>
          </a:p>
        </p:txBody>
      </p:sp>
      <p:sp>
        <p:nvSpPr>
          <p:cNvPr id="13414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AC795DA5-0325-4BF1-AF31-A7BDF608537A}" type="slidenum">
              <a:rPr lang="zh-CN" altLang="en-US" smtClean="0">
                <a:latin typeface="Century Schoolbook" pitchFamily="18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56</a:t>
            </a:fld>
            <a:endParaRPr lang="zh-CN" altLang="en-US" smtClean="0">
              <a:latin typeface="Century Schoolbook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120194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414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dirty="0" smtClean="0"/>
          </a:p>
        </p:txBody>
      </p:sp>
      <p:sp>
        <p:nvSpPr>
          <p:cNvPr id="13414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AC795DA5-0325-4BF1-AF31-A7BDF608537A}" type="slidenum">
              <a:rPr lang="zh-CN" altLang="en-US" smtClean="0">
                <a:latin typeface="Century Schoolbook" pitchFamily="18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57</a:t>
            </a:fld>
            <a:endParaRPr lang="zh-CN" altLang="en-US" smtClean="0">
              <a:latin typeface="Century Schoolbook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717649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414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dirty="0" smtClean="0"/>
          </a:p>
        </p:txBody>
      </p:sp>
      <p:sp>
        <p:nvSpPr>
          <p:cNvPr id="13414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AC795DA5-0325-4BF1-AF31-A7BDF608537A}" type="slidenum">
              <a:rPr lang="zh-CN" altLang="en-US" smtClean="0">
                <a:latin typeface="Century Schoolbook" pitchFamily="18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58</a:t>
            </a:fld>
            <a:endParaRPr lang="zh-CN" altLang="en-US" smtClean="0">
              <a:latin typeface="Century Schoolbook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017691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dirty="0" smtClean="0"/>
              <a:t>可以针对任何专题发起讨论，也可以针对专题的任一章节发起讨论，还可以给优质专题点赞，更可以将专题推荐给其他好友、小组，也可以保存在自己笔记中，永久保留</a:t>
            </a:r>
            <a:r>
              <a:rPr lang="en-US" altLang="zh-CN" dirty="0" smtClean="0"/>
              <a:t>~</a:t>
            </a:r>
            <a:endParaRPr lang="zh-CN" altLang="en-US" dirty="0" smtClean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E97D9F88-8E5B-4C22-BF64-4EFB89BCE25B}" type="slidenum">
              <a:rPr lang="zh-CN" altLang="en-US">
                <a:solidFill>
                  <a:prstClr val="black"/>
                </a:solidFill>
              </a:rPr>
              <a:pPr/>
              <a:t>6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66841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CEE2E7-8353-43F4-A74F-61EB3F134B84}" type="slidenum">
              <a:rPr lang="zh-CN" altLang="en-US" smtClean="0"/>
              <a:pPr>
                <a:defRPr/>
              </a:pPr>
              <a:t>6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42088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CEE2E7-8353-43F4-A74F-61EB3F134B84}" type="slidenum">
              <a:rPr lang="zh-CN" altLang="en-US" smtClean="0"/>
              <a:pPr>
                <a:defRPr/>
              </a:pPr>
              <a:t>6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420881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CEE2E7-8353-43F4-A74F-61EB3F134B84}" type="slidenum">
              <a:rPr lang="zh-CN" altLang="en-US" smtClean="0"/>
              <a:pPr>
                <a:defRPr/>
              </a:pPr>
              <a:t>6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42088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CEE2E7-8353-43F4-A74F-61EB3F134B84}" type="slidenum">
              <a:rPr lang="zh-CN" altLang="en-US" smtClean="0"/>
              <a:pPr>
                <a:defRPr/>
              </a:pPr>
              <a:t>6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42088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CEE2E7-8353-43F4-A74F-61EB3F134B84}" type="slidenum">
              <a:rPr lang="zh-CN" altLang="en-US" smtClean="0"/>
              <a:pPr>
                <a:defRPr/>
              </a:pPr>
              <a:t>6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4208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CEE2E7-8353-43F4-A74F-61EB3F134B84}" type="slidenum">
              <a:rPr lang="zh-CN" altLang="en-US" smtClean="0"/>
              <a:pPr>
                <a:defRPr/>
              </a:pPr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4208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75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48098C2-3363-4D06-9D6A-6BF2D7EEC057}" type="slidenum">
              <a:rPr lang="en-US" altLang="zh-CN" smtClean="0">
                <a:latin typeface="Arial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altLang="zh-CN" smtClean="0">
              <a:latin typeface="Arial" pitchFamily="34" charset="0"/>
            </a:endParaRPr>
          </a:p>
        </p:txBody>
      </p:sp>
      <p:sp>
        <p:nvSpPr>
          <p:cNvPr id="202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275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18120299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CEE2E7-8353-43F4-A74F-61EB3F134B84}" type="slidenum">
              <a:rPr lang="zh-CN" altLang="en-US" smtClean="0"/>
              <a:pPr>
                <a:defRPr/>
              </a:pPr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4208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" cmpd="sng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" cmpd="sng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zh-CN" altLang="en-US" smtClean="0"/>
              <a:t>    比如一些特色库、专题库 、机构库的建设等等，但是在建设的过程中仍然存在各种问题。比如我们的学科服务平台，学科服务将科研深度、图书馆与读者的粘稠度做得很好，但是图书馆的学科馆员有限，效果并不那么理想</a:t>
            </a:r>
          </a:p>
        </p:txBody>
      </p:sp>
    </p:spTree>
    <p:extLst>
      <p:ext uri="{BB962C8B-B14F-4D97-AF65-F5344CB8AC3E}">
        <p14:creationId xmlns:p14="http://schemas.microsoft.com/office/powerpoint/2010/main" val="3446061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CEE2E7-8353-43F4-A74F-61EB3F134B84}" type="slidenum">
              <a:rPr lang="zh-CN" altLang="en-US" smtClean="0"/>
              <a:pPr>
                <a:defRPr/>
              </a:pPr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420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3.jpeg"/><Relationship Id="rId7" Type="http://schemas.microsoft.com/office/2007/relationships/hdphoto" Target="../media/hdphoto1.wdp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.emf"/><Relationship Id="rId6" Type="http://schemas.openxmlformats.org/officeDocument/2006/relationships/image" Target="../media/image3.jpeg"/><Relationship Id="rId7" Type="http://schemas.microsoft.com/office/2007/relationships/hdphoto" Target="../media/hdphoto1.wdp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6" Type="http://schemas.openxmlformats.org/officeDocument/2006/relationships/image" Target="../media/image3.jpeg"/><Relationship Id="rId7" Type="http://schemas.microsoft.com/office/2007/relationships/hdphoto" Target="../media/hdphoto1.wdp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6" Type="http://schemas.openxmlformats.org/officeDocument/2006/relationships/image" Target="../media/image3.jpeg"/><Relationship Id="rId7" Type="http://schemas.microsoft.com/office/2007/relationships/hdphoto" Target="../media/hdphoto1.wdp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6" Type="http://schemas.openxmlformats.org/officeDocument/2006/relationships/image" Target="../media/image3.jpeg"/><Relationship Id="rId7" Type="http://schemas.microsoft.com/office/2007/relationships/hdphoto" Target="../media/hdphoto1.wdp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6" Type="http://schemas.openxmlformats.org/officeDocument/2006/relationships/image" Target="../media/image3.jpeg"/><Relationship Id="rId7" Type="http://schemas.microsoft.com/office/2007/relationships/hdphoto" Target="../media/hdphoto1.wdp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6" Type="http://schemas.openxmlformats.org/officeDocument/2006/relationships/image" Target="../media/image3.jpeg"/><Relationship Id="rId7" Type="http://schemas.microsoft.com/office/2007/relationships/hdphoto" Target="../media/hdphoto1.wdp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6" Type="http://schemas.openxmlformats.org/officeDocument/2006/relationships/image" Target="../media/image3.jpeg"/><Relationship Id="rId7" Type="http://schemas.microsoft.com/office/2007/relationships/hdphoto" Target="../media/hdphoto1.wdp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6" Type="http://schemas.openxmlformats.org/officeDocument/2006/relationships/image" Target="../media/image3.jpeg"/><Relationship Id="rId7" Type="http://schemas.microsoft.com/office/2007/relationships/hdphoto" Target="../media/hdphoto1.wdp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框 2"/>
          <p:cNvSpPr txBox="1">
            <a:spLocks noChangeArrowheads="1"/>
          </p:cNvSpPr>
          <p:nvPr userDrawn="1"/>
        </p:nvSpPr>
        <p:spPr bwMode="auto">
          <a:xfrm>
            <a:off x="2206632" y="411168"/>
            <a:ext cx="3546300" cy="373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5536" tIns="32768" rIns="65536" bIns="32768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defTabSz="491522">
              <a:defRPr/>
            </a:pPr>
            <a:r>
              <a:rPr lang="en-US" altLang="zh-CN" sz="20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Add Your </a:t>
            </a:r>
            <a:r>
              <a:rPr lang="en-US" altLang="zh-CN" sz="2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le In Here</a:t>
            </a:r>
            <a:endParaRPr lang="zh-CN" altLang="en-US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文本框 3"/>
          <p:cNvSpPr txBox="1">
            <a:spLocks noChangeArrowheads="1"/>
          </p:cNvSpPr>
          <p:nvPr userDrawn="1"/>
        </p:nvSpPr>
        <p:spPr bwMode="auto">
          <a:xfrm>
            <a:off x="3651253" y="901703"/>
            <a:ext cx="1235218" cy="173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5536" tIns="32768" rIns="65536" bIns="32768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defTabSz="491522">
              <a:defRPr/>
            </a:pPr>
            <a:r>
              <a:rPr lang="en-US" altLang="zh-CN" sz="7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add your title in here</a:t>
            </a:r>
            <a:endParaRPr lang="zh-CN" altLang="en-US" sz="7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组合 4"/>
          <p:cNvGrpSpPr/>
          <p:nvPr userDrawn="1"/>
        </p:nvGrpSpPr>
        <p:grpSpPr>
          <a:xfrm>
            <a:off x="8573454" y="4379601"/>
            <a:ext cx="290512" cy="366712"/>
            <a:chOff x="4481513" y="4638676"/>
            <a:chExt cx="290512" cy="366711"/>
          </a:xfrm>
          <a:solidFill>
            <a:schemeClr val="bg1"/>
          </a:solidFill>
        </p:grpSpPr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4598988" y="4784725"/>
              <a:ext cx="46038" cy="23812"/>
            </a:xfrm>
            <a:custGeom>
              <a:avLst/>
              <a:gdLst>
                <a:gd name="T0" fmla="*/ 0 w 29"/>
                <a:gd name="T1" fmla="*/ 13 h 15"/>
                <a:gd name="T2" fmla="*/ 18 w 29"/>
                <a:gd name="T3" fmla="*/ 15 h 15"/>
                <a:gd name="T4" fmla="*/ 29 w 29"/>
                <a:gd name="T5" fmla="*/ 1 h 15"/>
                <a:gd name="T6" fmla="*/ 14 w 29"/>
                <a:gd name="T7" fmla="*/ 0 h 15"/>
                <a:gd name="T8" fmla="*/ 0 w 29"/>
                <a:gd name="T9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5">
                  <a:moveTo>
                    <a:pt x="0" y="13"/>
                  </a:moveTo>
                  <a:lnTo>
                    <a:pt x="18" y="15"/>
                  </a:lnTo>
                  <a:lnTo>
                    <a:pt x="29" y="1"/>
                  </a:lnTo>
                  <a:lnTo>
                    <a:pt x="14" y="0"/>
                  </a:ln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91522">
                <a:defRPr/>
              </a:pPr>
              <a:endParaRPr lang="zh-CN" altLang="en-US" sz="1000">
                <a:solidFill>
                  <a:prstClr val="black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4562475" y="4962525"/>
              <a:ext cx="50800" cy="42862"/>
            </a:xfrm>
            <a:custGeom>
              <a:avLst/>
              <a:gdLst>
                <a:gd name="T0" fmla="*/ 6 w 32"/>
                <a:gd name="T1" fmla="*/ 0 h 27"/>
                <a:gd name="T2" fmla="*/ 0 w 32"/>
                <a:gd name="T3" fmla="*/ 27 h 27"/>
                <a:gd name="T4" fmla="*/ 32 w 32"/>
                <a:gd name="T5" fmla="*/ 0 h 27"/>
                <a:gd name="T6" fmla="*/ 6 w 32"/>
                <a:gd name="T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7">
                  <a:moveTo>
                    <a:pt x="6" y="0"/>
                  </a:moveTo>
                  <a:lnTo>
                    <a:pt x="0" y="27"/>
                  </a:lnTo>
                  <a:lnTo>
                    <a:pt x="3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91522">
                <a:defRPr/>
              </a:pPr>
              <a:endParaRPr lang="zh-CN" altLang="en-US" sz="1000">
                <a:solidFill>
                  <a:prstClr val="black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4591050" y="4962525"/>
              <a:ext cx="107950" cy="38100"/>
            </a:xfrm>
            <a:custGeom>
              <a:avLst/>
              <a:gdLst>
                <a:gd name="T0" fmla="*/ 58 w 68"/>
                <a:gd name="T1" fmla="*/ 0 h 24"/>
                <a:gd name="T2" fmla="*/ 31 w 68"/>
                <a:gd name="T3" fmla="*/ 0 h 24"/>
                <a:gd name="T4" fmla="*/ 0 w 68"/>
                <a:gd name="T5" fmla="*/ 24 h 24"/>
                <a:gd name="T6" fmla="*/ 68 w 68"/>
                <a:gd name="T7" fmla="*/ 24 h 24"/>
                <a:gd name="T8" fmla="*/ 47 w 68"/>
                <a:gd name="T9" fmla="*/ 11 h 24"/>
                <a:gd name="T10" fmla="*/ 58 w 6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24">
                  <a:moveTo>
                    <a:pt x="58" y="0"/>
                  </a:moveTo>
                  <a:lnTo>
                    <a:pt x="31" y="0"/>
                  </a:lnTo>
                  <a:lnTo>
                    <a:pt x="0" y="24"/>
                  </a:lnTo>
                  <a:lnTo>
                    <a:pt x="68" y="24"/>
                  </a:lnTo>
                  <a:lnTo>
                    <a:pt x="47" y="11"/>
                  </a:lnTo>
                  <a:lnTo>
                    <a:pt x="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91522">
                <a:defRPr/>
              </a:pPr>
              <a:endParaRPr lang="zh-CN" altLang="en-US" sz="1000">
                <a:solidFill>
                  <a:prstClr val="black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4491038" y="4638676"/>
              <a:ext cx="263525" cy="258762"/>
            </a:xfrm>
            <a:custGeom>
              <a:avLst/>
              <a:gdLst>
                <a:gd name="T0" fmla="*/ 123 w 166"/>
                <a:gd name="T1" fmla="*/ 77 h 163"/>
                <a:gd name="T2" fmla="*/ 123 w 166"/>
                <a:gd name="T3" fmla="*/ 57 h 163"/>
                <a:gd name="T4" fmla="*/ 117 w 166"/>
                <a:gd name="T5" fmla="*/ 64 h 163"/>
                <a:gd name="T6" fmla="*/ 117 w 166"/>
                <a:gd name="T7" fmla="*/ 43 h 163"/>
                <a:gd name="T8" fmla="*/ 109 w 166"/>
                <a:gd name="T9" fmla="*/ 53 h 163"/>
                <a:gd name="T10" fmla="*/ 109 w 166"/>
                <a:gd name="T11" fmla="*/ 30 h 163"/>
                <a:gd name="T12" fmla="*/ 101 w 166"/>
                <a:gd name="T13" fmla="*/ 44 h 163"/>
                <a:gd name="T14" fmla="*/ 77 w 166"/>
                <a:gd name="T15" fmla="*/ 10 h 163"/>
                <a:gd name="T16" fmla="*/ 76 w 166"/>
                <a:gd name="T17" fmla="*/ 62 h 163"/>
                <a:gd name="T18" fmla="*/ 75 w 166"/>
                <a:gd name="T19" fmla="*/ 62 h 163"/>
                <a:gd name="T20" fmla="*/ 6 w 166"/>
                <a:gd name="T21" fmla="*/ 0 h 163"/>
                <a:gd name="T22" fmla="*/ 59 w 166"/>
                <a:gd name="T23" fmla="*/ 76 h 163"/>
                <a:gd name="T24" fmla="*/ 0 w 166"/>
                <a:gd name="T25" fmla="*/ 125 h 163"/>
                <a:gd name="T26" fmla="*/ 37 w 166"/>
                <a:gd name="T27" fmla="*/ 163 h 163"/>
                <a:gd name="T28" fmla="*/ 65 w 166"/>
                <a:gd name="T29" fmla="*/ 144 h 163"/>
                <a:gd name="T30" fmla="*/ 62 w 166"/>
                <a:gd name="T31" fmla="*/ 153 h 163"/>
                <a:gd name="T32" fmla="*/ 72 w 166"/>
                <a:gd name="T33" fmla="*/ 153 h 163"/>
                <a:gd name="T34" fmla="*/ 75 w 166"/>
                <a:gd name="T35" fmla="*/ 143 h 163"/>
                <a:gd name="T36" fmla="*/ 109 w 166"/>
                <a:gd name="T37" fmla="*/ 126 h 163"/>
                <a:gd name="T38" fmla="*/ 102 w 166"/>
                <a:gd name="T39" fmla="*/ 116 h 163"/>
                <a:gd name="T40" fmla="*/ 80 w 166"/>
                <a:gd name="T41" fmla="*/ 131 h 163"/>
                <a:gd name="T42" fmla="*/ 61 w 166"/>
                <a:gd name="T43" fmla="*/ 129 h 163"/>
                <a:gd name="T44" fmla="*/ 35 w 166"/>
                <a:gd name="T45" fmla="*/ 148 h 163"/>
                <a:gd name="T46" fmla="*/ 17 w 166"/>
                <a:gd name="T47" fmla="*/ 126 h 163"/>
                <a:gd name="T48" fmla="*/ 89 w 166"/>
                <a:gd name="T49" fmla="*/ 72 h 163"/>
                <a:gd name="T50" fmla="*/ 89 w 166"/>
                <a:gd name="T51" fmla="*/ 46 h 163"/>
                <a:gd name="T52" fmla="*/ 147 w 166"/>
                <a:gd name="T53" fmla="*/ 133 h 163"/>
                <a:gd name="T54" fmla="*/ 116 w 166"/>
                <a:gd name="T55" fmla="*/ 156 h 163"/>
                <a:gd name="T56" fmla="*/ 136 w 166"/>
                <a:gd name="T57" fmla="*/ 156 h 163"/>
                <a:gd name="T58" fmla="*/ 166 w 166"/>
                <a:gd name="T59" fmla="*/ 132 h 163"/>
                <a:gd name="T60" fmla="*/ 123 w 166"/>
                <a:gd name="T61" fmla="*/ 77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6" h="163">
                  <a:moveTo>
                    <a:pt x="123" y="77"/>
                  </a:moveTo>
                  <a:lnTo>
                    <a:pt x="123" y="57"/>
                  </a:lnTo>
                  <a:lnTo>
                    <a:pt x="117" y="64"/>
                  </a:lnTo>
                  <a:lnTo>
                    <a:pt x="117" y="43"/>
                  </a:lnTo>
                  <a:lnTo>
                    <a:pt x="109" y="53"/>
                  </a:lnTo>
                  <a:lnTo>
                    <a:pt x="109" y="30"/>
                  </a:lnTo>
                  <a:lnTo>
                    <a:pt x="101" y="44"/>
                  </a:lnTo>
                  <a:lnTo>
                    <a:pt x="77" y="10"/>
                  </a:lnTo>
                  <a:lnTo>
                    <a:pt x="76" y="62"/>
                  </a:lnTo>
                  <a:lnTo>
                    <a:pt x="75" y="62"/>
                  </a:lnTo>
                  <a:lnTo>
                    <a:pt x="6" y="0"/>
                  </a:lnTo>
                  <a:lnTo>
                    <a:pt x="59" y="76"/>
                  </a:lnTo>
                  <a:lnTo>
                    <a:pt x="0" y="125"/>
                  </a:lnTo>
                  <a:lnTo>
                    <a:pt x="37" y="163"/>
                  </a:lnTo>
                  <a:lnTo>
                    <a:pt x="65" y="144"/>
                  </a:lnTo>
                  <a:lnTo>
                    <a:pt x="62" y="153"/>
                  </a:lnTo>
                  <a:lnTo>
                    <a:pt x="72" y="153"/>
                  </a:lnTo>
                  <a:lnTo>
                    <a:pt x="75" y="143"/>
                  </a:lnTo>
                  <a:lnTo>
                    <a:pt x="109" y="126"/>
                  </a:lnTo>
                  <a:lnTo>
                    <a:pt x="102" y="116"/>
                  </a:lnTo>
                  <a:lnTo>
                    <a:pt x="80" y="131"/>
                  </a:lnTo>
                  <a:lnTo>
                    <a:pt x="61" y="129"/>
                  </a:lnTo>
                  <a:lnTo>
                    <a:pt x="35" y="148"/>
                  </a:lnTo>
                  <a:lnTo>
                    <a:pt x="17" y="126"/>
                  </a:lnTo>
                  <a:lnTo>
                    <a:pt x="89" y="72"/>
                  </a:lnTo>
                  <a:lnTo>
                    <a:pt x="89" y="46"/>
                  </a:lnTo>
                  <a:lnTo>
                    <a:pt x="147" y="133"/>
                  </a:lnTo>
                  <a:lnTo>
                    <a:pt x="116" y="156"/>
                  </a:lnTo>
                  <a:lnTo>
                    <a:pt x="136" y="156"/>
                  </a:lnTo>
                  <a:lnTo>
                    <a:pt x="166" y="132"/>
                  </a:lnTo>
                  <a:lnTo>
                    <a:pt x="12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91522">
                <a:defRPr/>
              </a:pPr>
              <a:endParaRPr lang="zh-CN" altLang="en-US" sz="1000">
                <a:solidFill>
                  <a:prstClr val="black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4549775" y="4932363"/>
              <a:ext cx="12700" cy="9525"/>
            </a:xfrm>
            <a:custGeom>
              <a:avLst/>
              <a:gdLst>
                <a:gd name="T0" fmla="*/ 1 w 8"/>
                <a:gd name="T1" fmla="*/ 0 h 6"/>
                <a:gd name="T2" fmla="*/ 0 w 8"/>
                <a:gd name="T3" fmla="*/ 6 h 6"/>
                <a:gd name="T4" fmla="*/ 6 w 8"/>
                <a:gd name="T5" fmla="*/ 6 h 6"/>
                <a:gd name="T6" fmla="*/ 8 w 8"/>
                <a:gd name="T7" fmla="*/ 0 h 6"/>
                <a:gd name="T8" fmla="*/ 1 w 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6">
                  <a:moveTo>
                    <a:pt x="1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8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91522">
                <a:defRPr/>
              </a:pPr>
              <a:endParaRPr lang="zh-CN" altLang="en-US" sz="1000">
                <a:solidFill>
                  <a:prstClr val="black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4564063" y="4932363"/>
              <a:ext cx="14288" cy="9525"/>
            </a:xfrm>
            <a:custGeom>
              <a:avLst/>
              <a:gdLst>
                <a:gd name="T0" fmla="*/ 2 w 9"/>
                <a:gd name="T1" fmla="*/ 0 h 6"/>
                <a:gd name="T2" fmla="*/ 0 w 9"/>
                <a:gd name="T3" fmla="*/ 6 h 6"/>
                <a:gd name="T4" fmla="*/ 7 w 9"/>
                <a:gd name="T5" fmla="*/ 6 h 6"/>
                <a:gd name="T6" fmla="*/ 9 w 9"/>
                <a:gd name="T7" fmla="*/ 0 h 6"/>
                <a:gd name="T8" fmla="*/ 2 w 9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2" y="0"/>
                  </a:moveTo>
                  <a:lnTo>
                    <a:pt x="0" y="6"/>
                  </a:lnTo>
                  <a:lnTo>
                    <a:pt x="7" y="6"/>
                  </a:lnTo>
                  <a:lnTo>
                    <a:pt x="9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91522">
                <a:defRPr/>
              </a:pPr>
              <a:endParaRPr lang="zh-CN" altLang="en-US" sz="1000">
                <a:solidFill>
                  <a:prstClr val="black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4578350" y="4932363"/>
              <a:ext cx="14288" cy="9525"/>
            </a:xfrm>
            <a:custGeom>
              <a:avLst/>
              <a:gdLst>
                <a:gd name="T0" fmla="*/ 2 w 9"/>
                <a:gd name="T1" fmla="*/ 0 h 6"/>
                <a:gd name="T2" fmla="*/ 0 w 9"/>
                <a:gd name="T3" fmla="*/ 6 h 6"/>
                <a:gd name="T4" fmla="*/ 7 w 9"/>
                <a:gd name="T5" fmla="*/ 6 h 6"/>
                <a:gd name="T6" fmla="*/ 9 w 9"/>
                <a:gd name="T7" fmla="*/ 0 h 6"/>
                <a:gd name="T8" fmla="*/ 2 w 9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2" y="0"/>
                  </a:moveTo>
                  <a:lnTo>
                    <a:pt x="0" y="6"/>
                  </a:lnTo>
                  <a:lnTo>
                    <a:pt x="7" y="6"/>
                  </a:lnTo>
                  <a:lnTo>
                    <a:pt x="9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91522">
                <a:defRPr/>
              </a:pPr>
              <a:endParaRPr lang="zh-CN" altLang="en-US" sz="1000">
                <a:solidFill>
                  <a:prstClr val="black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4594225" y="4932363"/>
              <a:ext cx="12700" cy="9525"/>
            </a:xfrm>
            <a:custGeom>
              <a:avLst/>
              <a:gdLst>
                <a:gd name="T0" fmla="*/ 1 w 8"/>
                <a:gd name="T1" fmla="*/ 0 h 6"/>
                <a:gd name="T2" fmla="*/ 0 w 8"/>
                <a:gd name="T3" fmla="*/ 6 h 6"/>
                <a:gd name="T4" fmla="*/ 6 w 8"/>
                <a:gd name="T5" fmla="*/ 6 h 6"/>
                <a:gd name="T6" fmla="*/ 8 w 8"/>
                <a:gd name="T7" fmla="*/ 0 h 6"/>
                <a:gd name="T8" fmla="*/ 1 w 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6">
                  <a:moveTo>
                    <a:pt x="1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8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91522">
                <a:defRPr/>
              </a:pPr>
              <a:endParaRPr lang="zh-CN" altLang="en-US" sz="1000">
                <a:solidFill>
                  <a:prstClr val="black"/>
                </a:solidFill>
              </a:endParaRPr>
            </a:p>
          </p:txBody>
        </p:sp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4484688" y="4903788"/>
              <a:ext cx="58738" cy="38100"/>
            </a:xfrm>
            <a:custGeom>
              <a:avLst/>
              <a:gdLst>
                <a:gd name="T0" fmla="*/ 60 w 60"/>
                <a:gd name="T1" fmla="*/ 34 h 39"/>
                <a:gd name="T2" fmla="*/ 36 w 60"/>
                <a:gd name="T3" fmla="*/ 34 h 39"/>
                <a:gd name="T4" fmla="*/ 36 w 60"/>
                <a:gd name="T5" fmla="*/ 29 h 39"/>
                <a:gd name="T6" fmla="*/ 60 w 60"/>
                <a:gd name="T7" fmla="*/ 29 h 39"/>
                <a:gd name="T8" fmla="*/ 60 w 60"/>
                <a:gd name="T9" fmla="*/ 23 h 39"/>
                <a:gd name="T10" fmla="*/ 36 w 60"/>
                <a:gd name="T11" fmla="*/ 23 h 39"/>
                <a:gd name="T12" fmla="*/ 36 w 60"/>
                <a:gd name="T13" fmla="*/ 21 h 39"/>
                <a:gd name="T14" fmla="*/ 55 w 60"/>
                <a:gd name="T15" fmla="*/ 21 h 39"/>
                <a:gd name="T16" fmla="*/ 60 w 60"/>
                <a:gd name="T17" fmla="*/ 16 h 39"/>
                <a:gd name="T18" fmla="*/ 60 w 60"/>
                <a:gd name="T19" fmla="*/ 0 h 39"/>
                <a:gd name="T20" fmla="*/ 0 w 60"/>
                <a:gd name="T21" fmla="*/ 0 h 39"/>
                <a:gd name="T22" fmla="*/ 0 w 60"/>
                <a:gd name="T23" fmla="*/ 21 h 39"/>
                <a:gd name="T24" fmla="*/ 24 w 60"/>
                <a:gd name="T25" fmla="*/ 21 h 39"/>
                <a:gd name="T26" fmla="*/ 24 w 60"/>
                <a:gd name="T27" fmla="*/ 23 h 39"/>
                <a:gd name="T28" fmla="*/ 0 w 60"/>
                <a:gd name="T29" fmla="*/ 23 h 39"/>
                <a:gd name="T30" fmla="*/ 0 w 60"/>
                <a:gd name="T31" fmla="*/ 29 h 39"/>
                <a:gd name="T32" fmla="*/ 24 w 60"/>
                <a:gd name="T33" fmla="*/ 29 h 39"/>
                <a:gd name="T34" fmla="*/ 24 w 60"/>
                <a:gd name="T35" fmla="*/ 34 h 39"/>
                <a:gd name="T36" fmla="*/ 0 w 60"/>
                <a:gd name="T37" fmla="*/ 34 h 39"/>
                <a:gd name="T38" fmla="*/ 0 w 60"/>
                <a:gd name="T39" fmla="*/ 39 h 39"/>
                <a:gd name="T40" fmla="*/ 60 w 60"/>
                <a:gd name="T41" fmla="*/ 39 h 39"/>
                <a:gd name="T42" fmla="*/ 60 w 60"/>
                <a:gd name="T43" fmla="*/ 34 h 39"/>
                <a:gd name="T44" fmla="*/ 36 w 60"/>
                <a:gd name="T45" fmla="*/ 5 h 39"/>
                <a:gd name="T46" fmla="*/ 49 w 60"/>
                <a:gd name="T47" fmla="*/ 5 h 39"/>
                <a:gd name="T48" fmla="*/ 49 w 60"/>
                <a:gd name="T49" fmla="*/ 14 h 39"/>
                <a:gd name="T50" fmla="*/ 46 w 60"/>
                <a:gd name="T51" fmla="*/ 16 h 39"/>
                <a:gd name="T52" fmla="*/ 46 w 60"/>
                <a:gd name="T53" fmla="*/ 16 h 39"/>
                <a:gd name="T54" fmla="*/ 47 w 60"/>
                <a:gd name="T55" fmla="*/ 6 h 39"/>
                <a:gd name="T56" fmla="*/ 40 w 60"/>
                <a:gd name="T57" fmla="*/ 6 h 39"/>
                <a:gd name="T58" fmla="*/ 38 w 60"/>
                <a:gd name="T59" fmla="*/ 16 h 39"/>
                <a:gd name="T60" fmla="*/ 36 w 60"/>
                <a:gd name="T61" fmla="*/ 16 h 39"/>
                <a:gd name="T62" fmla="*/ 36 w 60"/>
                <a:gd name="T63" fmla="*/ 5 h 39"/>
                <a:gd name="T64" fmla="*/ 24 w 60"/>
                <a:gd name="T65" fmla="*/ 16 h 39"/>
                <a:gd name="T66" fmla="*/ 22 w 60"/>
                <a:gd name="T67" fmla="*/ 16 h 39"/>
                <a:gd name="T68" fmla="*/ 20 w 60"/>
                <a:gd name="T69" fmla="*/ 6 h 39"/>
                <a:gd name="T70" fmla="*/ 12 w 60"/>
                <a:gd name="T71" fmla="*/ 6 h 39"/>
                <a:gd name="T72" fmla="*/ 14 w 60"/>
                <a:gd name="T73" fmla="*/ 16 h 39"/>
                <a:gd name="T74" fmla="*/ 11 w 60"/>
                <a:gd name="T75" fmla="*/ 16 h 39"/>
                <a:gd name="T76" fmla="*/ 11 w 60"/>
                <a:gd name="T77" fmla="*/ 5 h 39"/>
                <a:gd name="T78" fmla="*/ 24 w 60"/>
                <a:gd name="T79" fmla="*/ 5 h 39"/>
                <a:gd name="T80" fmla="*/ 24 w 60"/>
                <a:gd name="T81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39">
                  <a:moveTo>
                    <a:pt x="60" y="34"/>
                  </a:moveTo>
                  <a:cubicBezTo>
                    <a:pt x="36" y="34"/>
                    <a:pt x="36" y="34"/>
                    <a:pt x="36" y="34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55" y="21"/>
                    <a:pt x="55" y="21"/>
                    <a:pt x="55" y="21"/>
                  </a:cubicBezTo>
                  <a:cubicBezTo>
                    <a:pt x="59" y="21"/>
                    <a:pt x="60" y="20"/>
                    <a:pt x="60" y="1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60" y="39"/>
                    <a:pt x="60" y="39"/>
                    <a:pt x="60" y="39"/>
                  </a:cubicBezTo>
                  <a:lnTo>
                    <a:pt x="60" y="34"/>
                  </a:lnTo>
                  <a:close/>
                  <a:moveTo>
                    <a:pt x="36" y="5"/>
                  </a:moveTo>
                  <a:cubicBezTo>
                    <a:pt x="49" y="5"/>
                    <a:pt x="49" y="5"/>
                    <a:pt x="49" y="5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9" y="16"/>
                    <a:pt x="48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36" y="5"/>
                  </a:lnTo>
                  <a:close/>
                  <a:moveTo>
                    <a:pt x="24" y="16"/>
                  </a:moveTo>
                  <a:cubicBezTo>
                    <a:pt x="22" y="16"/>
                    <a:pt x="22" y="16"/>
                    <a:pt x="22" y="1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24" y="5"/>
                    <a:pt x="24" y="5"/>
                    <a:pt x="24" y="5"/>
                  </a:cubicBezTo>
                  <a:lnTo>
                    <a:pt x="2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91522">
                <a:defRPr/>
              </a:pPr>
              <a:endParaRPr lang="zh-CN" altLang="en-US" sz="1000">
                <a:solidFill>
                  <a:prstClr val="black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4546600" y="4903788"/>
              <a:ext cx="77788" cy="15875"/>
            </a:xfrm>
            <a:custGeom>
              <a:avLst/>
              <a:gdLst>
                <a:gd name="T0" fmla="*/ 0 w 49"/>
                <a:gd name="T1" fmla="*/ 3 h 10"/>
                <a:gd name="T2" fmla="*/ 40 w 49"/>
                <a:gd name="T3" fmla="*/ 3 h 10"/>
                <a:gd name="T4" fmla="*/ 40 w 49"/>
                <a:gd name="T5" fmla="*/ 10 h 10"/>
                <a:gd name="T6" fmla="*/ 48 w 49"/>
                <a:gd name="T7" fmla="*/ 10 h 10"/>
                <a:gd name="T8" fmla="*/ 49 w 49"/>
                <a:gd name="T9" fmla="*/ 0 h 10"/>
                <a:gd name="T10" fmla="*/ 0 w 49"/>
                <a:gd name="T11" fmla="*/ 0 h 10"/>
                <a:gd name="T12" fmla="*/ 0 w 49"/>
                <a:gd name="T1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10">
                  <a:moveTo>
                    <a:pt x="0" y="3"/>
                  </a:moveTo>
                  <a:lnTo>
                    <a:pt x="40" y="3"/>
                  </a:lnTo>
                  <a:lnTo>
                    <a:pt x="40" y="10"/>
                  </a:lnTo>
                  <a:lnTo>
                    <a:pt x="48" y="10"/>
                  </a:lnTo>
                  <a:lnTo>
                    <a:pt x="49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91522">
                <a:defRPr/>
              </a:pPr>
              <a:endParaRPr lang="zh-CN" altLang="en-US" sz="1000">
                <a:solidFill>
                  <a:prstClr val="black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4562475" y="4910138"/>
              <a:ext cx="61913" cy="41275"/>
            </a:xfrm>
            <a:custGeom>
              <a:avLst/>
              <a:gdLst>
                <a:gd name="T0" fmla="*/ 16 w 62"/>
                <a:gd name="T1" fmla="*/ 0 h 43"/>
                <a:gd name="T2" fmla="*/ 2 w 62"/>
                <a:gd name="T3" fmla="*/ 0 h 43"/>
                <a:gd name="T4" fmla="*/ 0 w 62"/>
                <a:gd name="T5" fmla="*/ 17 h 43"/>
                <a:gd name="T6" fmla="*/ 47 w 62"/>
                <a:gd name="T7" fmla="*/ 17 h 43"/>
                <a:gd name="T8" fmla="*/ 47 w 62"/>
                <a:gd name="T9" fmla="*/ 34 h 43"/>
                <a:gd name="T10" fmla="*/ 61 w 62"/>
                <a:gd name="T11" fmla="*/ 42 h 43"/>
                <a:gd name="T12" fmla="*/ 62 w 62"/>
                <a:gd name="T13" fmla="*/ 41 h 43"/>
                <a:gd name="T14" fmla="*/ 62 w 62"/>
                <a:gd name="T15" fmla="*/ 12 h 43"/>
                <a:gd name="T16" fmla="*/ 14 w 62"/>
                <a:gd name="T17" fmla="*/ 12 h 43"/>
                <a:gd name="T18" fmla="*/ 16 w 6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43">
                  <a:moveTo>
                    <a:pt x="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60" y="41"/>
                    <a:pt x="61" y="42"/>
                  </a:cubicBezTo>
                  <a:cubicBezTo>
                    <a:pt x="62" y="43"/>
                    <a:pt x="62" y="41"/>
                    <a:pt x="62" y="41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14" y="12"/>
                    <a:pt x="14" y="12"/>
                    <a:pt x="14" y="12"/>
                  </a:cubicBez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91522">
                <a:defRPr/>
              </a:pPr>
              <a:endParaRPr lang="zh-CN" altLang="en-US" sz="1000">
                <a:solidFill>
                  <a:prstClr val="black"/>
                </a:solidFill>
              </a:endParaRPr>
            </a:p>
          </p:txBody>
        </p:sp>
        <p:sp>
          <p:nvSpPr>
            <p:cNvPr id="17" name="Freeform 16"/>
            <p:cNvSpPr>
              <a:spLocks noEditPoints="1"/>
            </p:cNvSpPr>
            <p:nvPr/>
          </p:nvSpPr>
          <p:spPr bwMode="auto">
            <a:xfrm>
              <a:off x="4640263" y="4903788"/>
              <a:ext cx="33338" cy="46037"/>
            </a:xfrm>
            <a:custGeom>
              <a:avLst/>
              <a:gdLst>
                <a:gd name="T0" fmla="*/ 15 w 34"/>
                <a:gd name="T1" fmla="*/ 0 h 47"/>
                <a:gd name="T2" fmla="*/ 0 w 34"/>
                <a:gd name="T3" fmla="*/ 0 h 47"/>
                <a:gd name="T4" fmla="*/ 0 w 34"/>
                <a:gd name="T5" fmla="*/ 47 h 47"/>
                <a:gd name="T6" fmla="*/ 10 w 34"/>
                <a:gd name="T7" fmla="*/ 47 h 47"/>
                <a:gd name="T8" fmla="*/ 10 w 34"/>
                <a:gd name="T9" fmla="*/ 29 h 47"/>
                <a:gd name="T10" fmla="*/ 17 w 34"/>
                <a:gd name="T11" fmla="*/ 29 h 47"/>
                <a:gd name="T12" fmla="*/ 34 w 34"/>
                <a:gd name="T13" fmla="*/ 15 h 47"/>
                <a:gd name="T14" fmla="*/ 15 w 34"/>
                <a:gd name="T15" fmla="*/ 0 h 47"/>
                <a:gd name="T16" fmla="*/ 13 w 34"/>
                <a:gd name="T17" fmla="*/ 21 h 47"/>
                <a:gd name="T18" fmla="*/ 10 w 34"/>
                <a:gd name="T19" fmla="*/ 21 h 47"/>
                <a:gd name="T20" fmla="*/ 10 w 34"/>
                <a:gd name="T21" fmla="*/ 8 h 47"/>
                <a:gd name="T22" fmla="*/ 13 w 34"/>
                <a:gd name="T23" fmla="*/ 8 h 47"/>
                <a:gd name="T24" fmla="*/ 23 w 34"/>
                <a:gd name="T25" fmla="*/ 15 h 47"/>
                <a:gd name="T26" fmla="*/ 13 w 34"/>
                <a:gd name="T27" fmla="*/ 2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47">
                  <a:moveTo>
                    <a:pt x="1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28" y="28"/>
                    <a:pt x="33" y="24"/>
                    <a:pt x="34" y="15"/>
                  </a:cubicBezTo>
                  <a:cubicBezTo>
                    <a:pt x="34" y="5"/>
                    <a:pt x="27" y="0"/>
                    <a:pt x="15" y="0"/>
                  </a:cubicBezTo>
                  <a:close/>
                  <a:moveTo>
                    <a:pt x="13" y="21"/>
                  </a:moveTo>
                  <a:cubicBezTo>
                    <a:pt x="12" y="21"/>
                    <a:pt x="11" y="21"/>
                    <a:pt x="10" y="21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8"/>
                    <a:pt x="12" y="8"/>
                    <a:pt x="13" y="8"/>
                  </a:cubicBezTo>
                  <a:cubicBezTo>
                    <a:pt x="20" y="7"/>
                    <a:pt x="23" y="10"/>
                    <a:pt x="23" y="15"/>
                  </a:cubicBezTo>
                  <a:cubicBezTo>
                    <a:pt x="23" y="20"/>
                    <a:pt x="20" y="22"/>
                    <a:pt x="1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91522">
                <a:defRPr/>
              </a:pPr>
              <a:endParaRPr lang="zh-CN" altLang="en-US" sz="1000">
                <a:solidFill>
                  <a:prstClr val="black"/>
                </a:solidFill>
              </a:endParaRPr>
            </a:p>
          </p:txBody>
        </p:sp>
        <p:sp>
          <p:nvSpPr>
            <p:cNvPr id="18" name="Freeform 17"/>
            <p:cNvSpPr>
              <a:spLocks noEditPoints="1"/>
            </p:cNvSpPr>
            <p:nvPr/>
          </p:nvSpPr>
          <p:spPr bwMode="auto">
            <a:xfrm>
              <a:off x="4689475" y="4903788"/>
              <a:ext cx="33338" cy="46037"/>
            </a:xfrm>
            <a:custGeom>
              <a:avLst/>
              <a:gdLst>
                <a:gd name="T0" fmla="*/ 15 w 34"/>
                <a:gd name="T1" fmla="*/ 0 h 47"/>
                <a:gd name="T2" fmla="*/ 0 w 34"/>
                <a:gd name="T3" fmla="*/ 0 h 47"/>
                <a:gd name="T4" fmla="*/ 0 w 34"/>
                <a:gd name="T5" fmla="*/ 47 h 47"/>
                <a:gd name="T6" fmla="*/ 10 w 34"/>
                <a:gd name="T7" fmla="*/ 47 h 47"/>
                <a:gd name="T8" fmla="*/ 10 w 34"/>
                <a:gd name="T9" fmla="*/ 29 h 47"/>
                <a:gd name="T10" fmla="*/ 18 w 34"/>
                <a:gd name="T11" fmla="*/ 29 h 47"/>
                <a:gd name="T12" fmla="*/ 34 w 34"/>
                <a:gd name="T13" fmla="*/ 15 h 47"/>
                <a:gd name="T14" fmla="*/ 15 w 34"/>
                <a:gd name="T15" fmla="*/ 0 h 47"/>
                <a:gd name="T16" fmla="*/ 13 w 34"/>
                <a:gd name="T17" fmla="*/ 21 h 47"/>
                <a:gd name="T18" fmla="*/ 10 w 34"/>
                <a:gd name="T19" fmla="*/ 21 h 47"/>
                <a:gd name="T20" fmla="*/ 10 w 34"/>
                <a:gd name="T21" fmla="*/ 8 h 47"/>
                <a:gd name="T22" fmla="*/ 13 w 34"/>
                <a:gd name="T23" fmla="*/ 8 h 47"/>
                <a:gd name="T24" fmla="*/ 23 w 34"/>
                <a:gd name="T25" fmla="*/ 15 h 47"/>
                <a:gd name="T26" fmla="*/ 13 w 34"/>
                <a:gd name="T27" fmla="*/ 2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47">
                  <a:moveTo>
                    <a:pt x="1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28" y="28"/>
                    <a:pt x="33" y="24"/>
                    <a:pt x="34" y="15"/>
                  </a:cubicBezTo>
                  <a:cubicBezTo>
                    <a:pt x="34" y="5"/>
                    <a:pt x="28" y="0"/>
                    <a:pt x="15" y="0"/>
                  </a:cubicBezTo>
                  <a:close/>
                  <a:moveTo>
                    <a:pt x="13" y="21"/>
                  </a:moveTo>
                  <a:cubicBezTo>
                    <a:pt x="12" y="21"/>
                    <a:pt x="11" y="21"/>
                    <a:pt x="10" y="21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8"/>
                    <a:pt x="12" y="8"/>
                    <a:pt x="13" y="8"/>
                  </a:cubicBezTo>
                  <a:cubicBezTo>
                    <a:pt x="20" y="7"/>
                    <a:pt x="23" y="10"/>
                    <a:pt x="23" y="15"/>
                  </a:cubicBezTo>
                  <a:cubicBezTo>
                    <a:pt x="23" y="20"/>
                    <a:pt x="20" y="22"/>
                    <a:pt x="1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91522">
                <a:defRPr/>
              </a:pPr>
              <a:endParaRPr lang="zh-CN" altLang="en-US" sz="1000">
                <a:solidFill>
                  <a:prstClr val="black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4733925" y="4903788"/>
              <a:ext cx="38100" cy="46037"/>
            </a:xfrm>
            <a:custGeom>
              <a:avLst/>
              <a:gdLst>
                <a:gd name="T0" fmla="*/ 0 w 24"/>
                <a:gd name="T1" fmla="*/ 0 h 29"/>
                <a:gd name="T2" fmla="*/ 0 w 24"/>
                <a:gd name="T3" fmla="*/ 5 h 29"/>
                <a:gd name="T4" fmla="*/ 9 w 24"/>
                <a:gd name="T5" fmla="*/ 5 h 29"/>
                <a:gd name="T6" fmla="*/ 9 w 24"/>
                <a:gd name="T7" fmla="*/ 29 h 29"/>
                <a:gd name="T8" fmla="*/ 15 w 24"/>
                <a:gd name="T9" fmla="*/ 29 h 29"/>
                <a:gd name="T10" fmla="*/ 15 w 24"/>
                <a:gd name="T11" fmla="*/ 5 h 29"/>
                <a:gd name="T12" fmla="*/ 24 w 24"/>
                <a:gd name="T13" fmla="*/ 5 h 29"/>
                <a:gd name="T14" fmla="*/ 24 w 24"/>
                <a:gd name="T15" fmla="*/ 0 h 29"/>
                <a:gd name="T16" fmla="*/ 0 w 24"/>
                <a:gd name="T1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9">
                  <a:moveTo>
                    <a:pt x="0" y="0"/>
                  </a:moveTo>
                  <a:lnTo>
                    <a:pt x="0" y="5"/>
                  </a:lnTo>
                  <a:lnTo>
                    <a:pt x="9" y="5"/>
                  </a:lnTo>
                  <a:lnTo>
                    <a:pt x="9" y="29"/>
                  </a:lnTo>
                  <a:lnTo>
                    <a:pt x="15" y="29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91522">
                <a:defRPr/>
              </a:pPr>
              <a:endParaRPr lang="zh-CN" altLang="en-US" sz="1000">
                <a:solidFill>
                  <a:prstClr val="black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4481513" y="4943475"/>
              <a:ext cx="138113" cy="14287"/>
            </a:xfrm>
            <a:custGeom>
              <a:avLst/>
              <a:gdLst>
                <a:gd name="T0" fmla="*/ 81 w 140"/>
                <a:gd name="T1" fmla="*/ 7 h 15"/>
                <a:gd name="T2" fmla="*/ 0 w 140"/>
                <a:gd name="T3" fmla="*/ 8 h 15"/>
                <a:gd name="T4" fmla="*/ 4 w 140"/>
                <a:gd name="T5" fmla="*/ 13 h 15"/>
                <a:gd name="T6" fmla="*/ 80 w 140"/>
                <a:gd name="T7" fmla="*/ 13 h 15"/>
                <a:gd name="T8" fmla="*/ 106 w 140"/>
                <a:gd name="T9" fmla="*/ 15 h 15"/>
                <a:gd name="T10" fmla="*/ 140 w 140"/>
                <a:gd name="T11" fmla="*/ 8 h 15"/>
                <a:gd name="T12" fmla="*/ 133 w 140"/>
                <a:gd name="T13" fmla="*/ 4 h 15"/>
                <a:gd name="T14" fmla="*/ 81 w 140"/>
                <a:gd name="T15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5">
                  <a:moveTo>
                    <a:pt x="81" y="7"/>
                  </a:moveTo>
                  <a:cubicBezTo>
                    <a:pt x="41" y="0"/>
                    <a:pt x="5" y="4"/>
                    <a:pt x="0" y="8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7" y="11"/>
                    <a:pt x="39" y="6"/>
                    <a:pt x="80" y="13"/>
                  </a:cubicBezTo>
                  <a:cubicBezTo>
                    <a:pt x="90" y="14"/>
                    <a:pt x="99" y="15"/>
                    <a:pt x="106" y="15"/>
                  </a:cubicBezTo>
                  <a:cubicBezTo>
                    <a:pt x="129" y="15"/>
                    <a:pt x="140" y="8"/>
                    <a:pt x="140" y="8"/>
                  </a:cubicBezTo>
                  <a:cubicBezTo>
                    <a:pt x="133" y="4"/>
                    <a:pt x="133" y="4"/>
                    <a:pt x="133" y="4"/>
                  </a:cubicBezTo>
                  <a:cubicBezTo>
                    <a:pt x="131" y="5"/>
                    <a:pt x="121" y="13"/>
                    <a:pt x="8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91522">
                <a:defRPr/>
              </a:pPr>
              <a:endParaRPr lang="zh-CN" altLang="en-US" sz="1000">
                <a:solidFill>
                  <a:prstClr val="black"/>
                </a:solidFill>
              </a:endParaRPr>
            </a:p>
          </p:txBody>
        </p:sp>
      </p:grpSp>
      <p:pic>
        <p:nvPicPr>
          <p:cNvPr id="22" name="图片 21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4119" y="0"/>
            <a:ext cx="9398119" cy="5286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705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grpId="0" nodeType="withEffect">
                                  <p:stCondLst>
                                    <p:cond delay="3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85" y="273850"/>
            <a:ext cx="1971675" cy="4358879"/>
          </a:xfrm>
          <a:prstGeom prst="rect">
            <a:avLst/>
          </a:prstGeom>
        </p:spPr>
        <p:txBody>
          <a:bodyPr vert="eaVert" lIns="65536" tIns="32768" rIns="65536" bIns="32768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60" y="273850"/>
            <a:ext cx="5800725" cy="4358879"/>
          </a:xfrm>
          <a:prstGeom prst="rect">
            <a:avLst/>
          </a:prstGeom>
        </p:spPr>
        <p:txBody>
          <a:bodyPr vert="eaVert" lIns="65536" tIns="32768" rIns="65536" bIns="32768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70"/>
            <a:ext cx="2057400" cy="274636"/>
          </a:xfrm>
          <a:prstGeom prst="rect">
            <a:avLst/>
          </a:prstGeom>
        </p:spPr>
        <p:txBody>
          <a:bodyPr lIns="65536" tIns="32768" rIns="65536" bIns="32768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+mn-lt"/>
                <a:ea typeface="+mn-ea"/>
              </a:defRPr>
            </a:lvl1pPr>
          </a:lstStyle>
          <a:p>
            <a:pPr defTabSz="491522">
              <a:defRPr/>
            </a:pPr>
            <a:fld id="{C6FD13B4-D877-42B3-B540-F4BCD607B8AA}" type="datetimeFigureOut">
              <a:rPr lang="en-US" smtClean="0">
                <a:solidFill>
                  <a:prstClr val="black"/>
                </a:solidFill>
              </a:rPr>
              <a:pPr defTabSz="491522">
                <a:defRPr/>
              </a:pPr>
              <a:t>6/22/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4767270"/>
            <a:ext cx="3086100" cy="274636"/>
          </a:xfrm>
          <a:prstGeom prst="rect">
            <a:avLst/>
          </a:prstGeom>
        </p:spPr>
        <p:txBody>
          <a:bodyPr lIns="65536" tIns="32768" rIns="65536" bIns="32768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+mn-lt"/>
                <a:ea typeface="+mn-ea"/>
              </a:defRPr>
            </a:lvl1pPr>
          </a:lstStyle>
          <a:p>
            <a:pPr defTabSz="491522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1" y="4767270"/>
            <a:ext cx="2057400" cy="274636"/>
          </a:xfrm>
          <a:prstGeom prst="rect">
            <a:avLst/>
          </a:prstGeom>
        </p:spPr>
        <p:txBody>
          <a:bodyPr vert="horz" wrap="square" lIns="65536" tIns="32768" rIns="65536" bIns="32768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491522" fontAlgn="base">
              <a:spcBef>
                <a:spcPct val="0"/>
              </a:spcBef>
              <a:spcAft>
                <a:spcPct val="0"/>
              </a:spcAft>
            </a:pPr>
            <a:fld id="{62ED9179-6636-464C-8CC8-4FFA2C25E57A}" type="slidenum">
              <a:rPr lang="en-US" altLang="zh-CN" sz="1000" smtClean="0">
                <a:solidFill>
                  <a:prstClr val="black"/>
                </a:solidFill>
              </a:rPr>
              <a:pPr defTabSz="49152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zh-CN" sz="1000" smtClean="0">
              <a:solidFill>
                <a:prstClr val="black"/>
              </a:solidFill>
            </a:endParaRP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50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3543301" y="273846"/>
            <a:ext cx="1965960" cy="315413"/>
          </a:xfrm>
          <a:prstGeom prst="rect">
            <a:avLst/>
          </a:prstGeom>
        </p:spPr>
        <p:txBody>
          <a:bodyPr lIns="65536" tIns="32768" rIns="65536" bIns="32768"/>
          <a:lstStyle>
            <a:lvl1pPr marL="0" indent="0">
              <a:buNone/>
              <a:defRPr sz="1300" b="1"/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018766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24"/>
            <a:ext cx="7772400" cy="1102519"/>
          </a:xfrm>
          <a:prstGeom prst="rect">
            <a:avLst/>
          </a:prstGeom>
        </p:spPr>
        <p:txBody>
          <a:bodyPr lIns="129040" tIns="64520" rIns="129040" bIns="64520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 lIns="129040" tIns="64520" rIns="129040" bIns="64520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45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90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356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80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26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71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516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616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6"/>
            <a:ext cx="2133600" cy="275035"/>
          </a:xfrm>
          <a:prstGeom prst="rect">
            <a:avLst/>
          </a:prstGeom>
        </p:spPr>
        <p:txBody>
          <a:bodyPr lIns="129040" tIns="64520" rIns="129040" bIns="64520"/>
          <a:lstStyle>
            <a:lvl1pPr>
              <a:defRPr/>
            </a:lvl1pPr>
          </a:lstStyle>
          <a:p>
            <a:pPr>
              <a:defRPr/>
            </a:pPr>
            <a:fld id="{546600E4-3332-4F60-88B1-2E5343800933}" type="datetimeFigureOut">
              <a:rPr lang="zh-CN" altLang="en-US"/>
              <a:pPr>
                <a:defRPr/>
              </a:pPr>
              <a:t>16/6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6"/>
            <a:ext cx="2895600" cy="275035"/>
          </a:xfrm>
          <a:prstGeom prst="rect">
            <a:avLst/>
          </a:prstGeom>
        </p:spPr>
        <p:txBody>
          <a:bodyPr lIns="129040" tIns="64520" rIns="129040" bIns="64520"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6"/>
            <a:ext cx="2133600" cy="275035"/>
          </a:xfrm>
          <a:prstGeom prst="rect">
            <a:avLst/>
          </a:prstGeom>
        </p:spPr>
        <p:txBody>
          <a:bodyPr lIns="129040" tIns="64520" rIns="129040" bIns="64520"/>
          <a:lstStyle>
            <a:lvl1pPr>
              <a:defRPr/>
            </a:lvl1pPr>
          </a:lstStyle>
          <a:p>
            <a:pPr>
              <a:defRPr/>
            </a:pPr>
            <a:fld id="{765722A8-13F2-45DD-B890-DD3166190938}" type="slidenum">
              <a:rPr lang="zh-CN" altLang="en-US"/>
              <a:pPr>
                <a:defRPr/>
              </a:pPr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2723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857251"/>
          </a:xfrm>
          <a:prstGeom prst="rect">
            <a:avLst/>
          </a:prstGeom>
        </p:spPr>
        <p:txBody>
          <a:bodyPr lIns="84329" tIns="42165" rIns="84329" bIns="42165">
            <a:normAutofit/>
          </a:bodyPr>
          <a:lstStyle>
            <a:lvl1pPr>
              <a:defRPr sz="3700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4"/>
            <a:ext cx="8229600" cy="3394472"/>
          </a:xfrm>
          <a:prstGeom prst="rect">
            <a:avLst/>
          </a:prstGeom>
        </p:spPr>
        <p:txBody>
          <a:bodyPr lIns="84329" tIns="42165" rIns="84329" bIns="42165"/>
          <a:lstStyle>
            <a:lvl1pPr>
              <a:lnSpc>
                <a:spcPct val="125000"/>
              </a:lnSpc>
              <a:defRPr/>
            </a:lvl1pPr>
            <a:lvl2pPr>
              <a:lnSpc>
                <a:spcPct val="125000"/>
              </a:lnSpc>
              <a:defRPr/>
            </a:lvl2pPr>
            <a:lvl3pPr>
              <a:lnSpc>
                <a:spcPct val="125000"/>
              </a:lnSpc>
              <a:defRPr/>
            </a:lvl3pPr>
            <a:lvl4pPr>
              <a:lnSpc>
                <a:spcPct val="125000"/>
              </a:lnSpc>
              <a:defRPr/>
            </a:lvl4pPr>
            <a:lvl5pPr>
              <a:lnSpc>
                <a:spcPct val="125000"/>
              </a:lnSpc>
              <a:defRPr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70"/>
            <a:ext cx="2133600" cy="275034"/>
          </a:xfrm>
          <a:prstGeom prst="rect">
            <a:avLst/>
          </a:prstGeom>
        </p:spPr>
        <p:txBody>
          <a:bodyPr lIns="84329" tIns="42165" rIns="84329" bIns="42165"/>
          <a:lstStyle>
            <a:lvl1pPr>
              <a:defRPr/>
            </a:lvl1pPr>
          </a:lstStyle>
          <a:p>
            <a:pPr>
              <a:defRPr/>
            </a:pPr>
            <a:fld id="{080EF944-3C6B-491C-95CB-6F3A3EF3DFDD}" type="datetimeFigureOut">
              <a:rPr lang="zh-CN" altLang="en-US"/>
              <a:pPr>
                <a:defRPr/>
              </a:pPr>
              <a:t>16/6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1" y="4767270"/>
            <a:ext cx="2895600" cy="275034"/>
          </a:xfrm>
          <a:prstGeom prst="rect">
            <a:avLst/>
          </a:prstGeom>
        </p:spPr>
        <p:txBody>
          <a:bodyPr lIns="84329" tIns="42165" rIns="84329" bIns="42165"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70"/>
            <a:ext cx="2133600" cy="275034"/>
          </a:xfrm>
          <a:prstGeom prst="rect">
            <a:avLst/>
          </a:prstGeom>
        </p:spPr>
        <p:txBody>
          <a:bodyPr lIns="84329" tIns="42165" rIns="84329" bIns="42165"/>
          <a:lstStyle>
            <a:lvl1pPr>
              <a:defRPr/>
            </a:lvl1pPr>
          </a:lstStyle>
          <a:p>
            <a:pPr>
              <a:defRPr/>
            </a:pPr>
            <a:fld id="{1FDB6538-E783-430E-B043-318D30B3460F}" type="slidenum">
              <a:rPr lang="zh-CN" altLang="en-US"/>
              <a:pPr>
                <a:defRPr/>
              </a:pPr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40253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45270" y="162428"/>
            <a:ext cx="7271273" cy="523375"/>
          </a:xfrm>
          <a:prstGeom prst="rect">
            <a:avLst/>
          </a:prstGeom>
        </p:spPr>
        <p:txBody>
          <a:bodyPr lIns="129040" tIns="64520" rIns="129040" bIns="64520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5" y="1170635"/>
            <a:ext cx="3755669" cy="617934"/>
          </a:xfrm>
          <a:prstGeom prst="rect">
            <a:avLst/>
          </a:prstGeom>
        </p:spPr>
        <p:txBody>
          <a:bodyPr lIns="129040" tIns="64520" rIns="129040" bIns="64520" anchor="b"/>
          <a:lstStyle>
            <a:lvl1pPr marL="0" indent="0">
              <a:buNone/>
              <a:defRPr sz="2500" b="1"/>
            </a:lvl1pPr>
            <a:lvl2pPr marL="483900" indent="0">
              <a:buNone/>
              <a:defRPr sz="2100" b="1"/>
            </a:lvl2pPr>
            <a:lvl3pPr marL="967801" indent="0">
              <a:buNone/>
              <a:defRPr sz="1900" b="1"/>
            </a:lvl3pPr>
            <a:lvl4pPr marL="1451701" indent="0">
              <a:buNone/>
              <a:defRPr sz="1700" b="1"/>
            </a:lvl4pPr>
            <a:lvl5pPr marL="1935602" indent="0">
              <a:buNone/>
              <a:defRPr sz="1700" b="1"/>
            </a:lvl5pPr>
            <a:lvl6pPr marL="2419502" indent="0">
              <a:buNone/>
              <a:defRPr sz="1700" b="1"/>
            </a:lvl6pPr>
            <a:lvl7pPr marL="2903403" indent="0">
              <a:buNone/>
              <a:defRPr sz="1700" b="1"/>
            </a:lvl7pPr>
            <a:lvl8pPr marL="3387303" indent="0">
              <a:buNone/>
              <a:defRPr sz="1700" b="1"/>
            </a:lvl8pPr>
            <a:lvl9pPr marL="3871204" indent="0">
              <a:buNone/>
              <a:defRPr sz="17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5" y="1878807"/>
            <a:ext cx="3755669" cy="2763442"/>
          </a:xfrm>
          <a:prstGeom prst="rect">
            <a:avLst/>
          </a:prstGeom>
        </p:spPr>
        <p:txBody>
          <a:bodyPr lIns="129040" tIns="64520" rIns="129040" bIns="64520"/>
          <a:lstStyle>
            <a:lvl1pPr marL="362925" indent="-362925">
              <a:buFont typeface="Arial" pitchFamily="34" charset="0"/>
              <a:buChar char="•"/>
              <a:defRPr sz="2500"/>
            </a:lvl1pPr>
            <a:lvl2pPr marL="846826" indent="-362925">
              <a:buFont typeface="Arial" pitchFamily="34" charset="0"/>
              <a:buChar char="•"/>
              <a:defRPr sz="2100"/>
            </a:lvl2pPr>
            <a:lvl3pPr marL="1330726" indent="-362925">
              <a:buFont typeface="Arial" pitchFamily="34" charset="0"/>
              <a:buChar char="•"/>
              <a:defRPr sz="1900"/>
            </a:lvl3pPr>
            <a:lvl4pPr marL="1814627" indent="-362925">
              <a:buFont typeface="Arial" pitchFamily="34" charset="0"/>
              <a:buChar char="•"/>
              <a:defRPr sz="1900"/>
            </a:lvl4pPr>
            <a:lvl5pPr marL="2298527" indent="-362925">
              <a:buFont typeface="Arial" pitchFamily="34" charset="0"/>
              <a:buChar char="•"/>
              <a:defRPr sz="19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759650" y="1170635"/>
            <a:ext cx="3755700" cy="617934"/>
          </a:xfrm>
          <a:prstGeom prst="rect">
            <a:avLst/>
          </a:prstGeom>
        </p:spPr>
        <p:txBody>
          <a:bodyPr lIns="129040" tIns="64520" rIns="129040" bIns="64520" anchor="b"/>
          <a:lstStyle>
            <a:lvl1pPr marL="0" indent="0">
              <a:buNone/>
              <a:defRPr sz="2500" b="1"/>
            </a:lvl1pPr>
            <a:lvl2pPr marL="483900" indent="0">
              <a:buNone/>
              <a:defRPr sz="2100" b="1"/>
            </a:lvl2pPr>
            <a:lvl3pPr marL="967801" indent="0">
              <a:buNone/>
              <a:defRPr sz="1900" b="1"/>
            </a:lvl3pPr>
            <a:lvl4pPr marL="1451701" indent="0">
              <a:buNone/>
              <a:defRPr sz="1700" b="1"/>
            </a:lvl4pPr>
            <a:lvl5pPr marL="1935602" indent="0">
              <a:buNone/>
              <a:defRPr sz="1700" b="1"/>
            </a:lvl5pPr>
            <a:lvl6pPr marL="2419502" indent="0">
              <a:buNone/>
              <a:defRPr sz="1700" b="1"/>
            </a:lvl6pPr>
            <a:lvl7pPr marL="2903403" indent="0">
              <a:buNone/>
              <a:defRPr sz="1700" b="1"/>
            </a:lvl7pPr>
            <a:lvl8pPr marL="3387303" indent="0">
              <a:buNone/>
              <a:defRPr sz="1700" b="1"/>
            </a:lvl8pPr>
            <a:lvl9pPr marL="3871204" indent="0">
              <a:buNone/>
              <a:defRPr sz="17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759650" y="1878807"/>
            <a:ext cx="3755700" cy="2763442"/>
          </a:xfrm>
          <a:prstGeom prst="rect">
            <a:avLst/>
          </a:prstGeom>
        </p:spPr>
        <p:txBody>
          <a:bodyPr lIns="129040" tIns="64520" rIns="129040" bIns="64520"/>
          <a:lstStyle>
            <a:lvl1pPr marL="362925" indent="-362925">
              <a:buFont typeface="Arial" pitchFamily="34" charset="0"/>
              <a:buChar char="•"/>
              <a:defRPr sz="2500"/>
            </a:lvl1pPr>
            <a:lvl2pPr marL="846826" indent="-362925">
              <a:buFont typeface="Arial" pitchFamily="34" charset="0"/>
              <a:buChar char="•"/>
              <a:defRPr sz="2100"/>
            </a:lvl2pPr>
            <a:lvl3pPr marL="1330726" indent="-362925">
              <a:buFont typeface="Arial" pitchFamily="34" charset="0"/>
              <a:buChar char="•"/>
              <a:defRPr sz="1900"/>
            </a:lvl3pPr>
            <a:lvl4pPr marL="1814627" indent="-362925">
              <a:buFont typeface="Arial" pitchFamily="34" charset="0"/>
              <a:buChar char="•"/>
              <a:defRPr sz="1900"/>
            </a:lvl4pPr>
            <a:lvl5pPr marL="2298527" indent="-362925">
              <a:buFont typeface="Arial" pitchFamily="34" charset="0"/>
              <a:buChar char="•"/>
              <a:defRPr sz="19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28650" y="4767267"/>
            <a:ext cx="2057400" cy="274636"/>
          </a:xfrm>
          <a:prstGeom prst="rect">
            <a:avLst/>
          </a:prstGeom>
        </p:spPr>
        <p:txBody>
          <a:bodyPr lIns="129040" tIns="64520" rIns="129040" bIns="6452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2CEE0B89-01D4-4BAB-B9EB-670D008AF266}" type="datetimeFigureOut">
              <a:rPr lang="zh-CN" altLang="en-US"/>
              <a:pPr>
                <a:defRPr/>
              </a:pPr>
              <a:t>16/6/22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3028950" y="4767267"/>
            <a:ext cx="3086100" cy="274636"/>
          </a:xfrm>
          <a:prstGeom prst="rect">
            <a:avLst/>
          </a:prstGeom>
        </p:spPr>
        <p:txBody>
          <a:bodyPr lIns="129040" tIns="64520" rIns="129040" bIns="6452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6457950" y="4767267"/>
            <a:ext cx="2057400" cy="274636"/>
          </a:xfrm>
          <a:prstGeom prst="rect">
            <a:avLst/>
          </a:prstGeom>
        </p:spPr>
        <p:txBody>
          <a:bodyPr lIns="129040" tIns="64520" rIns="129040" bIns="64520"/>
          <a:lstStyle>
            <a:lvl1pPr>
              <a:defRPr>
                <a:latin typeface="Calibri" pitchFamily="34" charset="0"/>
                <a:ea typeface="宋体" pitchFamily="2" charset="-122"/>
              </a:defRPr>
            </a:lvl1pPr>
          </a:lstStyle>
          <a:p>
            <a:fld id="{CB59B317-B1EE-47CC-8762-1980C35ED4F9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00389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303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5392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6"/>
            <a:ext cx="7886700" cy="2139555"/>
          </a:xfrm>
          <a:prstGeom prst="rect">
            <a:avLst/>
          </a:prstGeom>
        </p:spPr>
        <p:txBody>
          <a:bodyPr lIns="65536" tIns="32768" rIns="65536" bIns="32768"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104"/>
            <a:ext cx="7886700" cy="1125139"/>
          </a:xfrm>
          <a:prstGeom prst="rect">
            <a:avLst/>
          </a:prstGeom>
        </p:spPr>
        <p:txBody>
          <a:bodyPr lIns="65536" tIns="32768" rIns="65536" bIns="32768"/>
          <a:lstStyle>
            <a:lvl1pPr marL="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1pPr>
            <a:lvl2pPr marL="245762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2pPr>
            <a:lvl3pPr marL="491522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3pPr>
            <a:lvl4pPr marL="737283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4pPr>
            <a:lvl5pPr marL="983043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5pPr>
            <a:lvl6pPr marL="1228804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6pPr>
            <a:lvl7pPr marL="1474564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7pPr>
            <a:lvl8pPr marL="1720325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8pPr>
            <a:lvl9pPr marL="1966087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70"/>
            <a:ext cx="2057400" cy="274636"/>
          </a:xfrm>
          <a:prstGeom prst="rect">
            <a:avLst/>
          </a:prstGeom>
        </p:spPr>
        <p:txBody>
          <a:bodyPr lIns="65536" tIns="32768" rIns="65536" bIns="32768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+mn-lt"/>
                <a:ea typeface="+mn-ea"/>
              </a:defRPr>
            </a:lvl1pPr>
          </a:lstStyle>
          <a:p>
            <a:pPr defTabSz="491522">
              <a:defRPr/>
            </a:pPr>
            <a:fld id="{BE150FD6-C2EA-4878-801C-EC7A450A691B}" type="datetimeFigureOut">
              <a:rPr lang="zh-CN" altLang="en-US" smtClean="0">
                <a:solidFill>
                  <a:prstClr val="black"/>
                </a:solidFill>
              </a:rPr>
              <a:pPr defTabSz="491522">
                <a:defRPr/>
              </a:pPr>
              <a:t>16/6/22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4767270"/>
            <a:ext cx="3086100" cy="274636"/>
          </a:xfrm>
          <a:prstGeom prst="rect">
            <a:avLst/>
          </a:prstGeom>
        </p:spPr>
        <p:txBody>
          <a:bodyPr lIns="65536" tIns="32768" rIns="65536" bIns="32768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+mn-lt"/>
                <a:ea typeface="+mn-ea"/>
              </a:defRPr>
            </a:lvl1pPr>
          </a:lstStyle>
          <a:p>
            <a:pPr defTabSz="491522"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1" y="4767270"/>
            <a:ext cx="2057400" cy="274636"/>
          </a:xfrm>
          <a:prstGeom prst="rect">
            <a:avLst/>
          </a:prstGeom>
        </p:spPr>
        <p:txBody>
          <a:bodyPr vert="horz" wrap="square" lIns="65536" tIns="32768" rIns="65536" bIns="32768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491522" fontAlgn="base">
              <a:spcBef>
                <a:spcPct val="0"/>
              </a:spcBef>
              <a:spcAft>
                <a:spcPct val="0"/>
              </a:spcAft>
            </a:pPr>
            <a:fld id="{8E3891E4-C089-45B1-AFAB-8A56D1F91C41}" type="slidenum">
              <a:rPr lang="zh-CN" altLang="en-US" sz="1000" smtClean="0">
                <a:solidFill>
                  <a:prstClr val="black"/>
                </a:solidFill>
              </a:rPr>
              <a:pPr defTabSz="49152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 sz="1000" smtClean="0">
              <a:solidFill>
                <a:prstClr val="black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887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273849"/>
            <a:ext cx="7886700" cy="994172"/>
          </a:xfrm>
          <a:prstGeom prst="rect">
            <a:avLst/>
          </a:prstGeom>
        </p:spPr>
        <p:txBody>
          <a:bodyPr lIns="65536" tIns="32768" rIns="65536" bIns="32768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20"/>
            <a:ext cx="3886200" cy="3263505"/>
          </a:xfrm>
          <a:prstGeom prst="rect">
            <a:avLst/>
          </a:prstGeom>
        </p:spPr>
        <p:txBody>
          <a:bodyPr lIns="65536" tIns="32768" rIns="65536" bIns="32768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20"/>
            <a:ext cx="3886200" cy="3263505"/>
          </a:xfrm>
          <a:prstGeom prst="rect">
            <a:avLst/>
          </a:prstGeom>
        </p:spPr>
        <p:txBody>
          <a:bodyPr lIns="65536" tIns="32768" rIns="65536" bIns="32768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70"/>
            <a:ext cx="2057400" cy="274636"/>
          </a:xfrm>
          <a:prstGeom prst="rect">
            <a:avLst/>
          </a:prstGeom>
        </p:spPr>
        <p:txBody>
          <a:bodyPr lIns="65536" tIns="32768" rIns="65536" bIns="32768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+mn-lt"/>
                <a:ea typeface="+mn-ea"/>
              </a:defRPr>
            </a:lvl1pPr>
          </a:lstStyle>
          <a:p>
            <a:pPr defTabSz="491522">
              <a:defRPr/>
            </a:pPr>
            <a:fld id="{B19143EF-62F5-4D46-B560-5B4D7E70976D}" type="datetimeFigureOut">
              <a:rPr lang="zh-CN" altLang="en-US" smtClean="0">
                <a:solidFill>
                  <a:prstClr val="black"/>
                </a:solidFill>
              </a:rPr>
              <a:pPr defTabSz="491522">
                <a:defRPr/>
              </a:pPr>
              <a:t>16/6/22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1" y="4767270"/>
            <a:ext cx="3086100" cy="274636"/>
          </a:xfrm>
          <a:prstGeom prst="rect">
            <a:avLst/>
          </a:prstGeom>
        </p:spPr>
        <p:txBody>
          <a:bodyPr lIns="65536" tIns="32768" rIns="65536" bIns="32768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+mn-lt"/>
                <a:ea typeface="+mn-ea"/>
              </a:defRPr>
            </a:lvl1pPr>
          </a:lstStyle>
          <a:p>
            <a:pPr defTabSz="491522"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1" y="4767270"/>
            <a:ext cx="2057400" cy="274636"/>
          </a:xfrm>
          <a:prstGeom prst="rect">
            <a:avLst/>
          </a:prstGeom>
        </p:spPr>
        <p:txBody>
          <a:bodyPr vert="horz" wrap="square" lIns="65536" tIns="32768" rIns="65536" bIns="32768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491522" fontAlgn="base">
              <a:spcBef>
                <a:spcPct val="0"/>
              </a:spcBef>
              <a:spcAft>
                <a:spcPct val="0"/>
              </a:spcAft>
            </a:pPr>
            <a:fld id="{E0C48196-959A-48C6-8589-1750FA03F84E}" type="slidenum">
              <a:rPr lang="zh-CN" altLang="en-US" sz="1000" smtClean="0">
                <a:solidFill>
                  <a:prstClr val="black"/>
                </a:solidFill>
              </a:rPr>
              <a:pPr defTabSz="49152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 sz="1000" smtClean="0">
              <a:solidFill>
                <a:prstClr val="black"/>
              </a:solidFill>
            </a:endParaRPr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327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70"/>
            <a:ext cx="2057400" cy="274636"/>
          </a:xfrm>
          <a:prstGeom prst="rect">
            <a:avLst/>
          </a:prstGeom>
        </p:spPr>
        <p:txBody>
          <a:bodyPr lIns="65536" tIns="32768" rIns="65536" bIns="32768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+mn-lt"/>
                <a:ea typeface="+mn-ea"/>
              </a:defRPr>
            </a:lvl1pPr>
          </a:lstStyle>
          <a:p>
            <a:pPr defTabSz="491522">
              <a:defRPr/>
            </a:pPr>
            <a:fld id="{BC9A8D42-A2F4-4CB0-A2A9-A943D95D924F}" type="datetimeFigureOut">
              <a:rPr lang="zh-CN" altLang="en-US" smtClean="0">
                <a:solidFill>
                  <a:prstClr val="black"/>
                </a:solidFill>
              </a:rPr>
              <a:pPr defTabSz="491522">
                <a:defRPr/>
              </a:pPr>
              <a:t>16/6/22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1" y="4767270"/>
            <a:ext cx="3086100" cy="274636"/>
          </a:xfrm>
          <a:prstGeom prst="rect">
            <a:avLst/>
          </a:prstGeom>
        </p:spPr>
        <p:txBody>
          <a:bodyPr lIns="65536" tIns="32768" rIns="65536" bIns="32768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+mn-lt"/>
                <a:ea typeface="+mn-ea"/>
              </a:defRPr>
            </a:lvl1pPr>
          </a:lstStyle>
          <a:p>
            <a:pPr defTabSz="491522"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1" y="4767270"/>
            <a:ext cx="2057400" cy="274636"/>
          </a:xfrm>
          <a:prstGeom prst="rect">
            <a:avLst/>
          </a:prstGeom>
        </p:spPr>
        <p:txBody>
          <a:bodyPr vert="horz" wrap="square" lIns="65536" tIns="32768" rIns="65536" bIns="32768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491522" fontAlgn="base">
              <a:spcBef>
                <a:spcPct val="0"/>
              </a:spcBef>
              <a:spcAft>
                <a:spcPct val="0"/>
              </a:spcAft>
            </a:pPr>
            <a:fld id="{D576735B-C2EC-4A02-AE7A-4EB3A1F8D85A}" type="slidenum">
              <a:rPr lang="zh-CN" altLang="en-US" sz="1000" smtClean="0">
                <a:solidFill>
                  <a:prstClr val="black"/>
                </a:solidFill>
              </a:rPr>
              <a:pPr defTabSz="49152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 sz="1000" smtClean="0">
              <a:solidFill>
                <a:prstClr val="black"/>
              </a:solidFill>
            </a:endParaRP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74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2"/>
            <a:ext cx="2949178" cy="1200151"/>
          </a:xfrm>
          <a:prstGeom prst="rect">
            <a:avLst/>
          </a:prstGeom>
        </p:spPr>
        <p:txBody>
          <a:bodyPr lIns="65536" tIns="32768" rIns="65536" bIns="32768" anchor="b"/>
          <a:lstStyle>
            <a:lvl1pPr>
              <a:defRPr sz="17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3" y="740574"/>
            <a:ext cx="4629150" cy="3655219"/>
          </a:xfrm>
          <a:prstGeom prst="rect">
            <a:avLst/>
          </a:prstGeom>
        </p:spPr>
        <p:txBody>
          <a:bodyPr lIns="65536" tIns="32768" rIns="65536" bIns="32768"/>
          <a:lstStyle>
            <a:lvl1pPr>
              <a:defRPr sz="1700"/>
            </a:lvl1pPr>
            <a:lvl2pPr>
              <a:defRPr sz="16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5"/>
            <a:ext cx="2949178" cy="2858691"/>
          </a:xfrm>
          <a:prstGeom prst="rect">
            <a:avLst/>
          </a:prstGeom>
        </p:spPr>
        <p:txBody>
          <a:bodyPr lIns="65536" tIns="32768" rIns="65536" bIns="32768"/>
          <a:lstStyle>
            <a:lvl1pPr marL="0" indent="0">
              <a:buNone/>
              <a:defRPr sz="800"/>
            </a:lvl1pPr>
            <a:lvl2pPr marL="245762" indent="0">
              <a:buNone/>
              <a:defRPr sz="800"/>
            </a:lvl2pPr>
            <a:lvl3pPr marL="491522" indent="0">
              <a:buNone/>
              <a:defRPr sz="700"/>
            </a:lvl3pPr>
            <a:lvl4pPr marL="737283" indent="0">
              <a:buNone/>
              <a:defRPr sz="600"/>
            </a:lvl4pPr>
            <a:lvl5pPr marL="983043" indent="0">
              <a:buNone/>
              <a:defRPr sz="600"/>
            </a:lvl5pPr>
            <a:lvl6pPr marL="1228804" indent="0">
              <a:buNone/>
              <a:defRPr sz="600"/>
            </a:lvl6pPr>
            <a:lvl7pPr marL="1474564" indent="0">
              <a:buNone/>
              <a:defRPr sz="600"/>
            </a:lvl7pPr>
            <a:lvl8pPr marL="1720325" indent="0">
              <a:buNone/>
              <a:defRPr sz="600"/>
            </a:lvl8pPr>
            <a:lvl9pPr marL="1966087" indent="0">
              <a:buNone/>
              <a:defRPr sz="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70"/>
            <a:ext cx="2057400" cy="274636"/>
          </a:xfrm>
          <a:prstGeom prst="rect">
            <a:avLst/>
          </a:prstGeom>
        </p:spPr>
        <p:txBody>
          <a:bodyPr lIns="65536" tIns="32768" rIns="65536" bIns="32768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+mn-lt"/>
                <a:ea typeface="+mn-ea"/>
              </a:defRPr>
            </a:lvl1pPr>
          </a:lstStyle>
          <a:p>
            <a:pPr defTabSz="491522">
              <a:defRPr/>
            </a:pPr>
            <a:fld id="{629AC914-0BEA-4D11-86D9-AD3D65A23C46}" type="datetimeFigureOut">
              <a:rPr lang="zh-CN" altLang="en-US" smtClean="0">
                <a:solidFill>
                  <a:prstClr val="black"/>
                </a:solidFill>
              </a:rPr>
              <a:pPr defTabSz="491522">
                <a:defRPr/>
              </a:pPr>
              <a:t>16/6/22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1" y="4767270"/>
            <a:ext cx="3086100" cy="274636"/>
          </a:xfrm>
          <a:prstGeom prst="rect">
            <a:avLst/>
          </a:prstGeom>
        </p:spPr>
        <p:txBody>
          <a:bodyPr lIns="65536" tIns="32768" rIns="65536" bIns="32768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+mn-lt"/>
                <a:ea typeface="+mn-ea"/>
              </a:defRPr>
            </a:lvl1pPr>
          </a:lstStyle>
          <a:p>
            <a:pPr defTabSz="491522"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1" y="4767270"/>
            <a:ext cx="2057400" cy="274636"/>
          </a:xfrm>
          <a:prstGeom prst="rect">
            <a:avLst/>
          </a:prstGeom>
        </p:spPr>
        <p:txBody>
          <a:bodyPr vert="horz" wrap="square" lIns="65536" tIns="32768" rIns="65536" bIns="32768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491522" fontAlgn="base">
              <a:spcBef>
                <a:spcPct val="0"/>
              </a:spcBef>
              <a:spcAft>
                <a:spcPct val="0"/>
              </a:spcAft>
            </a:pPr>
            <a:fld id="{993802C4-DD93-4F3C-AFEF-C3A31F31F042}" type="slidenum">
              <a:rPr lang="zh-CN" altLang="en-US" sz="1000" smtClean="0">
                <a:solidFill>
                  <a:prstClr val="black"/>
                </a:solidFill>
              </a:rPr>
              <a:pPr defTabSz="49152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 sz="1000" smtClean="0">
              <a:solidFill>
                <a:prstClr val="black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927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2"/>
            <a:ext cx="2949178" cy="1200151"/>
          </a:xfrm>
          <a:prstGeom prst="rect">
            <a:avLst/>
          </a:prstGeom>
        </p:spPr>
        <p:txBody>
          <a:bodyPr lIns="65536" tIns="32768" rIns="65536" bIns="32768" anchor="b"/>
          <a:lstStyle>
            <a:lvl1pPr>
              <a:defRPr sz="17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3" y="740574"/>
            <a:ext cx="4629150" cy="3655219"/>
          </a:xfrm>
          <a:prstGeom prst="rect">
            <a:avLst/>
          </a:prstGeom>
        </p:spPr>
        <p:txBody>
          <a:bodyPr lIns="65536" tIns="32768" rIns="65536" bIns="32768" anchor="t"/>
          <a:lstStyle>
            <a:lvl1pPr marL="0" indent="0">
              <a:buNone/>
              <a:defRPr sz="1700"/>
            </a:lvl1pPr>
            <a:lvl2pPr marL="245762" indent="0">
              <a:buNone/>
              <a:defRPr sz="1600"/>
            </a:lvl2pPr>
            <a:lvl3pPr marL="491522" indent="0">
              <a:buNone/>
              <a:defRPr sz="1300"/>
            </a:lvl3pPr>
            <a:lvl4pPr marL="737283" indent="0">
              <a:buNone/>
              <a:defRPr sz="1100"/>
            </a:lvl4pPr>
            <a:lvl5pPr marL="983043" indent="0">
              <a:buNone/>
              <a:defRPr sz="1100"/>
            </a:lvl5pPr>
            <a:lvl6pPr marL="1228804" indent="0">
              <a:buNone/>
              <a:defRPr sz="1100"/>
            </a:lvl6pPr>
            <a:lvl7pPr marL="1474564" indent="0">
              <a:buNone/>
              <a:defRPr sz="1100"/>
            </a:lvl7pPr>
            <a:lvl8pPr marL="1720325" indent="0">
              <a:buNone/>
              <a:defRPr sz="1100"/>
            </a:lvl8pPr>
            <a:lvl9pPr marL="1966087" indent="0">
              <a:buNone/>
              <a:defRPr sz="1100"/>
            </a:lvl9pPr>
          </a:lstStyle>
          <a:p>
            <a:pPr lvl="0"/>
            <a:r>
              <a:rPr lang="zh-CN" altLang="en-US" noProof="0" smtClean="0"/>
              <a:t>单击图标添加图片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5"/>
            <a:ext cx="2949178" cy="2858691"/>
          </a:xfrm>
          <a:prstGeom prst="rect">
            <a:avLst/>
          </a:prstGeom>
        </p:spPr>
        <p:txBody>
          <a:bodyPr lIns="65536" tIns="32768" rIns="65536" bIns="32768"/>
          <a:lstStyle>
            <a:lvl1pPr marL="0" indent="0">
              <a:buNone/>
              <a:defRPr sz="800"/>
            </a:lvl1pPr>
            <a:lvl2pPr marL="245762" indent="0">
              <a:buNone/>
              <a:defRPr sz="800"/>
            </a:lvl2pPr>
            <a:lvl3pPr marL="491522" indent="0">
              <a:buNone/>
              <a:defRPr sz="700"/>
            </a:lvl3pPr>
            <a:lvl4pPr marL="737283" indent="0">
              <a:buNone/>
              <a:defRPr sz="600"/>
            </a:lvl4pPr>
            <a:lvl5pPr marL="983043" indent="0">
              <a:buNone/>
              <a:defRPr sz="600"/>
            </a:lvl5pPr>
            <a:lvl6pPr marL="1228804" indent="0">
              <a:buNone/>
              <a:defRPr sz="600"/>
            </a:lvl6pPr>
            <a:lvl7pPr marL="1474564" indent="0">
              <a:buNone/>
              <a:defRPr sz="600"/>
            </a:lvl7pPr>
            <a:lvl8pPr marL="1720325" indent="0">
              <a:buNone/>
              <a:defRPr sz="600"/>
            </a:lvl8pPr>
            <a:lvl9pPr marL="1966087" indent="0">
              <a:buNone/>
              <a:defRPr sz="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70"/>
            <a:ext cx="2057400" cy="274636"/>
          </a:xfrm>
          <a:prstGeom prst="rect">
            <a:avLst/>
          </a:prstGeom>
        </p:spPr>
        <p:txBody>
          <a:bodyPr lIns="65536" tIns="32768" rIns="65536" bIns="32768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+mn-lt"/>
                <a:ea typeface="+mn-ea"/>
              </a:defRPr>
            </a:lvl1pPr>
          </a:lstStyle>
          <a:p>
            <a:pPr defTabSz="491522">
              <a:defRPr/>
            </a:pPr>
            <a:fld id="{22A3DE49-4199-4F7A-BFA8-05A2FD22F7B0}" type="datetimeFigureOut">
              <a:rPr lang="zh-CN" altLang="en-US" smtClean="0">
                <a:solidFill>
                  <a:prstClr val="black"/>
                </a:solidFill>
              </a:rPr>
              <a:pPr defTabSz="491522">
                <a:defRPr/>
              </a:pPr>
              <a:t>16/6/22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1" y="4767270"/>
            <a:ext cx="3086100" cy="274636"/>
          </a:xfrm>
          <a:prstGeom prst="rect">
            <a:avLst/>
          </a:prstGeom>
        </p:spPr>
        <p:txBody>
          <a:bodyPr lIns="65536" tIns="32768" rIns="65536" bIns="32768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+mn-lt"/>
                <a:ea typeface="+mn-ea"/>
              </a:defRPr>
            </a:lvl1pPr>
          </a:lstStyle>
          <a:p>
            <a:pPr defTabSz="491522"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1" y="4767270"/>
            <a:ext cx="2057400" cy="274636"/>
          </a:xfrm>
          <a:prstGeom prst="rect">
            <a:avLst/>
          </a:prstGeom>
        </p:spPr>
        <p:txBody>
          <a:bodyPr vert="horz" wrap="square" lIns="65536" tIns="32768" rIns="65536" bIns="32768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491522" fontAlgn="base">
              <a:spcBef>
                <a:spcPct val="0"/>
              </a:spcBef>
              <a:spcAft>
                <a:spcPct val="0"/>
              </a:spcAft>
            </a:pPr>
            <a:fld id="{26C9924C-90A9-48FD-A6AF-6AE2A7C45814}" type="slidenum">
              <a:rPr lang="zh-CN" altLang="en-US" sz="1000" smtClean="0">
                <a:solidFill>
                  <a:prstClr val="black"/>
                </a:solidFill>
              </a:rPr>
              <a:pPr defTabSz="49152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 sz="1000" smtClean="0">
              <a:solidFill>
                <a:prstClr val="black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223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273849"/>
            <a:ext cx="7886700" cy="994172"/>
          </a:xfrm>
          <a:prstGeom prst="rect">
            <a:avLst/>
          </a:prstGeom>
        </p:spPr>
        <p:txBody>
          <a:bodyPr lIns="65536" tIns="32768" rIns="65536" bIns="32768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1369220"/>
            <a:ext cx="7886700" cy="3263505"/>
          </a:xfrm>
          <a:prstGeom prst="rect">
            <a:avLst/>
          </a:prstGeom>
        </p:spPr>
        <p:txBody>
          <a:bodyPr vert="eaVert" lIns="65536" tIns="32768" rIns="65536" bIns="32768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70"/>
            <a:ext cx="2057400" cy="274636"/>
          </a:xfrm>
          <a:prstGeom prst="rect">
            <a:avLst/>
          </a:prstGeom>
        </p:spPr>
        <p:txBody>
          <a:bodyPr lIns="65536" tIns="32768" rIns="65536" bIns="32768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+mn-lt"/>
                <a:ea typeface="+mn-ea"/>
              </a:defRPr>
            </a:lvl1pPr>
          </a:lstStyle>
          <a:p>
            <a:pPr defTabSz="491522">
              <a:defRPr/>
            </a:pPr>
            <a:fld id="{D789019F-3480-4237-8EA3-3441F0451B0B}" type="datetimeFigureOut">
              <a:rPr lang="zh-CN" altLang="en-US" smtClean="0">
                <a:solidFill>
                  <a:prstClr val="black"/>
                </a:solidFill>
              </a:rPr>
              <a:pPr defTabSz="491522">
                <a:defRPr/>
              </a:pPr>
              <a:t>16/6/22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4767270"/>
            <a:ext cx="3086100" cy="274636"/>
          </a:xfrm>
          <a:prstGeom prst="rect">
            <a:avLst/>
          </a:prstGeom>
        </p:spPr>
        <p:txBody>
          <a:bodyPr lIns="65536" tIns="32768" rIns="65536" bIns="32768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+mn-lt"/>
                <a:ea typeface="+mn-ea"/>
              </a:defRPr>
            </a:lvl1pPr>
          </a:lstStyle>
          <a:p>
            <a:pPr defTabSz="491522"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1" y="4767270"/>
            <a:ext cx="2057400" cy="274636"/>
          </a:xfrm>
          <a:prstGeom prst="rect">
            <a:avLst/>
          </a:prstGeom>
        </p:spPr>
        <p:txBody>
          <a:bodyPr vert="horz" wrap="square" lIns="65536" tIns="32768" rIns="65536" bIns="32768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491522" fontAlgn="base">
              <a:spcBef>
                <a:spcPct val="0"/>
              </a:spcBef>
              <a:spcAft>
                <a:spcPct val="0"/>
              </a:spcAft>
            </a:pPr>
            <a:fld id="{E8D74AC4-B646-45F4-AAD4-76A17DDEADF1}" type="slidenum">
              <a:rPr lang="zh-CN" altLang="en-US" sz="1000" smtClean="0">
                <a:solidFill>
                  <a:prstClr val="black"/>
                </a:solidFill>
              </a:rPr>
              <a:pPr defTabSz="49152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 sz="1000" smtClean="0">
              <a:solidFill>
                <a:prstClr val="black"/>
              </a:solidFill>
            </a:endParaRP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455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image" Target="../media/image1.emf"/><Relationship Id="rId21" Type="http://schemas.openxmlformats.org/officeDocument/2006/relationships/image" Target="../media/image3.jpeg"/><Relationship Id="rId22" Type="http://schemas.microsoft.com/office/2007/relationships/hdphoto" Target="../media/hdphoto1.wdp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1.xml"/><Relationship Id="rId18" Type="http://schemas.openxmlformats.org/officeDocument/2006/relationships/image" Target="../media/image2.png"/><Relationship Id="rId1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对象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91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1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 userDrawn="1"/>
        </p:nvPicPr>
        <p:blipFill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515" y="-27289"/>
            <a:ext cx="9541060" cy="536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302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9" r:id="rId2"/>
    <p:sldLayoutId id="2147483660" r:id="rId3"/>
    <p:sldLayoutId id="2147483661" r:id="rId4"/>
    <p:sldLayoutId id="2147483662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1" r:id="rId11"/>
    <p:sldLayoutId id="2147483723" r:id="rId12"/>
    <p:sldLayoutId id="2147483724" r:id="rId13"/>
    <p:sldLayoutId id="2147483725" r:id="rId14"/>
  </p:sldLayoutIdLst>
  <p:timing>
    <p:tnLst>
      <p:par>
        <p:cTn id="1" dur="indefinite" restart="never" nodeType="tmRoot"/>
      </p:par>
    </p:tnLst>
  </p:timing>
  <p:txStyles>
    <p:titleStyle>
      <a:lvl1pPr algn="l" defTabSz="4915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4915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2pPr>
      <a:lvl3pPr algn="l" defTabSz="4915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3pPr>
      <a:lvl4pPr algn="l" defTabSz="4915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4pPr>
      <a:lvl5pPr algn="l" defTabSz="4915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5pPr>
      <a:lvl6pPr marL="327682" algn="l" defTabSz="491522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6pPr>
      <a:lvl7pPr marL="655363" algn="l" defTabSz="491522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7pPr>
      <a:lvl8pPr marL="983043" algn="l" defTabSz="491522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8pPr>
      <a:lvl9pPr marL="1310724" algn="l" defTabSz="491522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9pPr>
    </p:titleStyle>
    <p:bodyStyle>
      <a:lvl1pPr marL="122880" indent="-122880" algn="l" defTabSz="491522" rtl="0" eaLnBrk="0" fontAlgn="base" hangingPunct="0">
        <a:lnSpc>
          <a:spcPct val="90000"/>
        </a:lnSpc>
        <a:spcBef>
          <a:spcPts val="538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8642" indent="-122880" algn="l" defTabSz="491522" rtl="0" eaLnBrk="0" fontAlgn="base" hangingPunct="0">
        <a:lnSpc>
          <a:spcPct val="90000"/>
        </a:lnSpc>
        <a:spcBef>
          <a:spcPts val="268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614401" indent="-122880" algn="l" defTabSz="491522" rtl="0" eaLnBrk="0" fontAlgn="base" hangingPunct="0">
        <a:lnSpc>
          <a:spcPct val="90000"/>
        </a:lnSpc>
        <a:spcBef>
          <a:spcPts val="268"/>
        </a:spcBef>
        <a:spcAft>
          <a:spcPct val="0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860163" indent="-122880" algn="l" defTabSz="491522" rtl="0" eaLnBrk="0" fontAlgn="base" hangingPunct="0">
        <a:lnSpc>
          <a:spcPct val="90000"/>
        </a:lnSpc>
        <a:spcBef>
          <a:spcPts val="268"/>
        </a:spcBef>
        <a:spcAft>
          <a:spcPct val="0"/>
        </a:spcAft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105924" indent="-122880" algn="l" defTabSz="491522" rtl="0" eaLnBrk="0" fontAlgn="base" hangingPunct="0">
        <a:lnSpc>
          <a:spcPct val="90000"/>
        </a:lnSpc>
        <a:spcBef>
          <a:spcPts val="268"/>
        </a:spcBef>
        <a:spcAft>
          <a:spcPct val="0"/>
        </a:spcAft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351684" indent="-122880" algn="l" defTabSz="491522" rtl="0" eaLnBrk="1" latinLnBrk="0" hangingPunct="1">
        <a:lnSpc>
          <a:spcPct val="90000"/>
        </a:lnSpc>
        <a:spcBef>
          <a:spcPts val="268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97446" indent="-122880" algn="l" defTabSz="491522" rtl="0" eaLnBrk="1" latinLnBrk="0" hangingPunct="1">
        <a:lnSpc>
          <a:spcPct val="90000"/>
        </a:lnSpc>
        <a:spcBef>
          <a:spcPts val="268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43206" indent="-122880" algn="l" defTabSz="491522" rtl="0" eaLnBrk="1" latinLnBrk="0" hangingPunct="1">
        <a:lnSpc>
          <a:spcPct val="90000"/>
        </a:lnSpc>
        <a:spcBef>
          <a:spcPts val="268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88967" indent="-122880" algn="l" defTabSz="491522" rtl="0" eaLnBrk="1" latinLnBrk="0" hangingPunct="1">
        <a:lnSpc>
          <a:spcPct val="90000"/>
        </a:lnSpc>
        <a:spcBef>
          <a:spcPts val="268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91522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45762" algn="l" defTabSz="491522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491522" algn="l" defTabSz="491522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37283" algn="l" defTabSz="491522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83043" algn="l" defTabSz="491522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28804" algn="l" defTabSz="491522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474564" algn="l" defTabSz="491522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20325" algn="l" defTabSz="491522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966087" algn="l" defTabSz="491522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9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5" Type="http://schemas.openxmlformats.org/officeDocument/2006/relationships/image" Target="../media/image12.png"/><Relationship Id="rId6" Type="http://schemas.openxmlformats.org/officeDocument/2006/relationships/image" Target="../media/image13.png"/><Relationship Id="rId7" Type="http://schemas.openxmlformats.org/officeDocument/2006/relationships/image" Target="../media/image14.png"/><Relationship Id="rId8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4" Type="http://schemas.openxmlformats.org/officeDocument/2006/relationships/image" Target="../media/image19.png"/><Relationship Id="rId5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microsoft.com/office/2007/relationships/hdphoto" Target="../media/hdphoto2.wdp"/><Relationship Id="rId5" Type="http://schemas.openxmlformats.org/officeDocument/2006/relationships/image" Target="../media/image22.png"/><Relationship Id="rId6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9.xml"/><Relationship Id="rId3" Type="http://schemas.openxmlformats.org/officeDocument/2006/relationships/image" Target="../media/image24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4" Type="http://schemas.openxmlformats.org/officeDocument/2006/relationships/image" Target="../media/image26.png"/><Relationship Id="rId5" Type="http://schemas.openxmlformats.org/officeDocument/2006/relationships/image" Target="../media/image27.png"/><Relationship Id="rId6" Type="http://schemas.openxmlformats.org/officeDocument/2006/relationships/image" Target="../media/image28.png"/><Relationship Id="rId7" Type="http://schemas.openxmlformats.org/officeDocument/2006/relationships/image" Target="../media/image29.png"/><Relationship Id="rId8" Type="http://schemas.openxmlformats.org/officeDocument/2006/relationships/image" Target="../media/image30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4" Type="http://schemas.openxmlformats.org/officeDocument/2006/relationships/slideLayout" Target="../slideLayouts/slideLayout14.xml"/><Relationship Id="rId5" Type="http://schemas.openxmlformats.org/officeDocument/2006/relationships/notesSlide" Target="../notesSlides/notesSlide24.xml"/><Relationship Id="rId6" Type="http://schemas.openxmlformats.org/officeDocument/2006/relationships/image" Target="../media/image31.jpeg"/><Relationship Id="rId7" Type="http://schemas.openxmlformats.org/officeDocument/2006/relationships/image" Target="../media/image32.png"/><Relationship Id="rId1" Type="http://schemas.openxmlformats.org/officeDocument/2006/relationships/tags" Target="../tags/tag11.xml"/><Relationship Id="rId2" Type="http://schemas.openxmlformats.org/officeDocument/2006/relationships/tags" Target="../tags/tag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4" Type="http://schemas.openxmlformats.org/officeDocument/2006/relationships/image" Target="../media/image33.png"/><Relationship Id="rId5" Type="http://schemas.openxmlformats.org/officeDocument/2006/relationships/image" Target="../media/image34.png"/><Relationship Id="rId6" Type="http://schemas.openxmlformats.org/officeDocument/2006/relationships/image" Target="../media/image35.png"/><Relationship Id="rId7" Type="http://schemas.openxmlformats.org/officeDocument/2006/relationships/image" Target="../media/image36.png"/><Relationship Id="rId8" Type="http://schemas.openxmlformats.org/officeDocument/2006/relationships/image" Target="../media/image37.png"/><Relationship Id="rId9" Type="http://schemas.openxmlformats.org/officeDocument/2006/relationships/image" Target="../media/image38.png"/><Relationship Id="rId1" Type="http://schemas.openxmlformats.org/officeDocument/2006/relationships/tags" Target="../tags/tag14.xml"/><Relationship Id="rId2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46.png"/><Relationship Id="rId12" Type="http://schemas.openxmlformats.org/officeDocument/2006/relationships/image" Target="../media/image47.png"/><Relationship Id="rId1" Type="http://schemas.openxmlformats.org/officeDocument/2006/relationships/tags" Target="../tags/tag15.xml"/><Relationship Id="rId2" Type="http://schemas.openxmlformats.org/officeDocument/2006/relationships/slideLayout" Target="../slideLayouts/slideLayout6.xml"/><Relationship Id="rId3" Type="http://schemas.openxmlformats.org/officeDocument/2006/relationships/notesSlide" Target="../notesSlides/notesSlide26.xml"/><Relationship Id="rId4" Type="http://schemas.openxmlformats.org/officeDocument/2006/relationships/image" Target="../media/image39.png"/><Relationship Id="rId5" Type="http://schemas.openxmlformats.org/officeDocument/2006/relationships/image" Target="../media/image40.png"/><Relationship Id="rId6" Type="http://schemas.openxmlformats.org/officeDocument/2006/relationships/image" Target="../media/image41.png"/><Relationship Id="rId7" Type="http://schemas.openxmlformats.org/officeDocument/2006/relationships/image" Target="../media/image42.png"/><Relationship Id="rId8" Type="http://schemas.openxmlformats.org/officeDocument/2006/relationships/image" Target="../media/image43.png"/><Relationship Id="rId9" Type="http://schemas.openxmlformats.org/officeDocument/2006/relationships/image" Target="../media/image44.png"/><Relationship Id="rId10" Type="http://schemas.openxmlformats.org/officeDocument/2006/relationships/image" Target="../media/image45.png"/></Relationships>
</file>

<file path=ppt/slides/_rels/slide3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2.png"/><Relationship Id="rId12" Type="http://schemas.microsoft.com/office/2007/relationships/hdphoto" Target="../media/hdphoto6.wdp"/><Relationship Id="rId1" Type="http://schemas.openxmlformats.org/officeDocument/2006/relationships/tags" Target="../tags/tag16.xml"/><Relationship Id="rId2" Type="http://schemas.openxmlformats.org/officeDocument/2006/relationships/slideLayout" Target="../slideLayouts/slideLayout14.xml"/><Relationship Id="rId3" Type="http://schemas.openxmlformats.org/officeDocument/2006/relationships/notesSlide" Target="../notesSlides/notesSlide27.xml"/><Relationship Id="rId4" Type="http://schemas.openxmlformats.org/officeDocument/2006/relationships/image" Target="../media/image48.png"/><Relationship Id="rId5" Type="http://schemas.microsoft.com/office/2007/relationships/hdphoto" Target="../media/hdphoto3.wdp"/><Relationship Id="rId6" Type="http://schemas.openxmlformats.org/officeDocument/2006/relationships/image" Target="../media/image49.png"/><Relationship Id="rId7" Type="http://schemas.openxmlformats.org/officeDocument/2006/relationships/image" Target="../media/image50.png"/><Relationship Id="rId8" Type="http://schemas.microsoft.com/office/2007/relationships/hdphoto" Target="../media/hdphoto4.wdp"/><Relationship Id="rId9" Type="http://schemas.openxmlformats.org/officeDocument/2006/relationships/image" Target="../media/image51.png"/><Relationship Id="rId10" Type="http://schemas.microsoft.com/office/2007/relationships/hdphoto" Target="../media/hdphoto5.wdp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4" Type="http://schemas.openxmlformats.org/officeDocument/2006/relationships/image" Target="../media/image53.png"/><Relationship Id="rId1" Type="http://schemas.openxmlformats.org/officeDocument/2006/relationships/tags" Target="../tags/tag17.xml"/><Relationship Id="rId2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4" Type="http://schemas.openxmlformats.org/officeDocument/2006/relationships/image" Target="../media/image54.png"/><Relationship Id="rId1" Type="http://schemas.openxmlformats.org/officeDocument/2006/relationships/tags" Target="../tags/tag18.xml"/><Relationship Id="rId2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p4"/><Relationship Id="rId4" Type="http://schemas.openxmlformats.org/officeDocument/2006/relationships/slideLayout" Target="../slideLayouts/slideLayout14.xml"/><Relationship Id="rId5" Type="http://schemas.openxmlformats.org/officeDocument/2006/relationships/notesSlide" Target="../notesSlides/notesSlide30.xml"/><Relationship Id="rId6" Type="http://schemas.openxmlformats.org/officeDocument/2006/relationships/image" Target="../media/image55.png"/><Relationship Id="rId7" Type="http://schemas.microsoft.com/office/2007/relationships/hdphoto" Target="../media/hdphoto7.wdp"/><Relationship Id="rId8" Type="http://schemas.openxmlformats.org/officeDocument/2006/relationships/image" Target="../media/image56.png"/><Relationship Id="rId9" Type="http://schemas.microsoft.com/office/2007/relationships/hdphoto" Target="../media/hdphoto8.wdp"/><Relationship Id="rId10" Type="http://schemas.openxmlformats.org/officeDocument/2006/relationships/image" Target="../media/image57.png"/><Relationship Id="rId1" Type="http://schemas.openxmlformats.org/officeDocument/2006/relationships/tags" Target="../tags/tag19.xml"/><Relationship Id="rId2" Type="http://schemas.microsoft.com/office/2007/relationships/media" Target="../media/media1.mp4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4" Type="http://schemas.openxmlformats.org/officeDocument/2006/relationships/image" Target="../media/image58.png"/><Relationship Id="rId5" Type="http://schemas.openxmlformats.org/officeDocument/2006/relationships/image" Target="../media/image59.png"/><Relationship Id="rId6" Type="http://schemas.microsoft.com/office/2007/relationships/hdphoto" Target="../media/hdphoto9.wdp"/><Relationship Id="rId1" Type="http://schemas.openxmlformats.org/officeDocument/2006/relationships/tags" Target="../tags/tag20.xml"/><Relationship Id="rId2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4" Type="http://schemas.openxmlformats.org/officeDocument/2006/relationships/image" Target="../media/image60.png"/><Relationship Id="rId1" Type="http://schemas.openxmlformats.org/officeDocument/2006/relationships/tags" Target="../tags/tag21.xml"/><Relationship Id="rId2" Type="http://schemas.openxmlformats.org/officeDocument/2006/relationships/tags" Target="../tags/tag2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4" Type="http://schemas.openxmlformats.org/officeDocument/2006/relationships/image" Target="../media/image61.png"/><Relationship Id="rId5" Type="http://schemas.openxmlformats.org/officeDocument/2006/relationships/image" Target="../media/image62.png"/><Relationship Id="rId6" Type="http://schemas.openxmlformats.org/officeDocument/2006/relationships/image" Target="../media/image63.png"/><Relationship Id="rId1" Type="http://schemas.openxmlformats.org/officeDocument/2006/relationships/tags" Target="../tags/tag23.xml"/><Relationship Id="rId2" Type="http://schemas.openxmlformats.org/officeDocument/2006/relationships/tags" Target="../tags/tag2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4" Type="http://schemas.openxmlformats.org/officeDocument/2006/relationships/image" Target="../media/image64.png"/><Relationship Id="rId5" Type="http://schemas.microsoft.com/office/2007/relationships/hdphoto" Target="../media/hdphoto10.wdp"/><Relationship Id="rId6" Type="http://schemas.openxmlformats.org/officeDocument/2006/relationships/image" Target="../media/image65.png"/><Relationship Id="rId7" Type="http://schemas.microsoft.com/office/2007/relationships/hdphoto" Target="../media/hdphoto11.wdp"/><Relationship Id="rId1" Type="http://schemas.openxmlformats.org/officeDocument/2006/relationships/tags" Target="../tags/tag25.xml"/><Relationship Id="rId2" Type="http://schemas.openxmlformats.org/officeDocument/2006/relationships/tags" Target="../tags/tag2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66.png"/><Relationship Id="rId3" Type="http://schemas.openxmlformats.org/officeDocument/2006/relationships/image" Target="../media/image67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4" Type="http://schemas.openxmlformats.org/officeDocument/2006/relationships/image" Target="../media/image70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6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4" Type="http://schemas.openxmlformats.org/officeDocument/2006/relationships/image" Target="../media/image72.png"/><Relationship Id="rId5" Type="http://schemas.openxmlformats.org/officeDocument/2006/relationships/image" Target="../media/image73.png"/><Relationship Id="rId6" Type="http://schemas.openxmlformats.org/officeDocument/2006/relationships/image" Target="../media/image74.png"/><Relationship Id="rId7" Type="http://schemas.microsoft.com/office/2007/relationships/hdphoto" Target="../media/hdphoto12.wdp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5.xml"/></Relationships>
</file>

<file path=ppt/slides/_rels/slide47.xml.rels><?xml version="1.0" encoding="UTF-8" standalone="yes"?>
<Relationships xmlns="http://schemas.openxmlformats.org/package/2006/relationships"><Relationship Id="rId3" Type="http://schemas.microsoft.com/office/2007/relationships/hdphoto" Target="../media/hdphoto13.wdp"/><Relationship Id="rId4" Type="http://schemas.openxmlformats.org/officeDocument/2006/relationships/image" Target="../media/image76.png"/><Relationship Id="rId5" Type="http://schemas.openxmlformats.org/officeDocument/2006/relationships/image" Target="../media/image77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5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4" Type="http://schemas.openxmlformats.org/officeDocument/2006/relationships/image" Target="../media/image80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8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8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5.xml"/></Relationships>
</file>

<file path=ppt/slides/_rels/slide50.xml.rels><?xml version="1.0" encoding="UTF-8" standalone="yes"?>
<Relationships xmlns="http://schemas.openxmlformats.org/package/2006/relationships"><Relationship Id="rId3" Type="http://schemas.microsoft.com/office/2007/relationships/hdphoto" Target="../media/hdphoto14.wdp"/><Relationship Id="rId4" Type="http://schemas.openxmlformats.org/officeDocument/2006/relationships/image" Target="../media/image83.png"/><Relationship Id="rId5" Type="http://schemas.microsoft.com/office/2007/relationships/hdphoto" Target="../media/hdphoto15.wdp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82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4" Type="http://schemas.openxmlformats.org/officeDocument/2006/relationships/image" Target="../media/image86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84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4" Type="http://schemas.microsoft.com/office/2007/relationships/hdphoto" Target="../media/hdphoto16.wdp"/><Relationship Id="rId5" Type="http://schemas.openxmlformats.org/officeDocument/2006/relationships/image" Target="../media/image88.png"/><Relationship Id="rId6" Type="http://schemas.microsoft.com/office/2007/relationships/hdphoto" Target="../media/hdphoto17.wdp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4" Type="http://schemas.microsoft.com/office/2007/relationships/hdphoto" Target="../media/hdphoto18.wdp"/><Relationship Id="rId5" Type="http://schemas.openxmlformats.org/officeDocument/2006/relationships/image" Target="../media/image90.png"/><Relationship Id="rId6" Type="http://schemas.microsoft.com/office/2007/relationships/hdphoto" Target="../media/hdphoto19.wdp"/><Relationship Id="rId7" Type="http://schemas.openxmlformats.org/officeDocument/2006/relationships/image" Target="../media/image91.png"/><Relationship Id="rId8" Type="http://schemas.microsoft.com/office/2007/relationships/hdphoto" Target="../media/hdphoto20.wdp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8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4" Type="http://schemas.openxmlformats.org/officeDocument/2006/relationships/image" Target="../media/image93.png"/><Relationship Id="rId5" Type="http://schemas.openxmlformats.org/officeDocument/2006/relationships/image" Target="../media/image94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9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0.xml"/><Relationship Id="rId3" Type="http://schemas.openxmlformats.org/officeDocument/2006/relationships/image" Target="../media/image95.png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1.xml"/><Relationship Id="rId3" Type="http://schemas.openxmlformats.org/officeDocument/2006/relationships/image" Target="../media/image96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4" Type="http://schemas.microsoft.com/office/2007/relationships/hdphoto" Target="../media/hdphoto21.wdp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9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99.png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00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4" Type="http://schemas.microsoft.com/office/2007/relationships/hdphoto" Target="../media/hdphoto22.wdp"/><Relationship Id="rId5" Type="http://schemas.openxmlformats.org/officeDocument/2006/relationships/image" Target="../media/image102.png"/><Relationship Id="rId6" Type="http://schemas.microsoft.com/office/2007/relationships/hdphoto" Target="../media/hdphoto23.wdp"/><Relationship Id="rId7" Type="http://schemas.openxmlformats.org/officeDocument/2006/relationships/image" Target="../media/image103.png"/><Relationship Id="rId8" Type="http://schemas.microsoft.com/office/2007/relationships/hdphoto" Target="../media/hdphoto24.wdp"/><Relationship Id="rId9" Type="http://schemas.openxmlformats.org/officeDocument/2006/relationships/image" Target="../media/image104.png"/><Relationship Id="rId10" Type="http://schemas.openxmlformats.org/officeDocument/2006/relationships/image" Target="../media/image105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3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4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4" Type="http://schemas.microsoft.com/office/2007/relationships/hdphoto" Target="../media/hdphoto25.wdp"/><Relationship Id="rId5" Type="http://schemas.openxmlformats.org/officeDocument/2006/relationships/image" Target="../media/image107.png"/><Relationship Id="rId6" Type="http://schemas.microsoft.com/office/2007/relationships/hdphoto" Target="../media/hdphoto26.wdp"/><Relationship Id="rId7" Type="http://schemas.openxmlformats.org/officeDocument/2006/relationships/image" Target="../media/image108.png"/><Relationship Id="rId8" Type="http://schemas.microsoft.com/office/2007/relationships/hdphoto" Target="../media/hdphoto27.wdp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5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4" Type="http://schemas.microsoft.com/office/2007/relationships/hdphoto" Target="../media/hdphoto28.wdp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7.xml"/><Relationship Id="rId3" Type="http://schemas.openxmlformats.org/officeDocument/2006/relationships/image" Target="../media/image110.png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8.xml"/><Relationship Id="rId3" Type="http://schemas.openxmlformats.org/officeDocument/2006/relationships/image" Target="../media/image11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5" Type="http://schemas.openxmlformats.org/officeDocument/2006/relationships/image" Target="../media/image8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矩形 1"/>
          <p:cNvSpPr>
            <a:spLocks noChangeArrowheads="1"/>
          </p:cNvSpPr>
          <p:nvPr/>
        </p:nvSpPr>
        <p:spPr bwMode="auto">
          <a:xfrm>
            <a:off x="564555" y="614033"/>
            <a:ext cx="8192910" cy="1868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4000" dirty="0">
                <a:solidFill>
                  <a:srgbClr val="FFFF00"/>
                </a:solidFill>
              </a:rPr>
              <a:t>面向“十三五”</a:t>
            </a:r>
            <a:r>
              <a:rPr lang="zh-CN" altLang="en-US" sz="4000" dirty="0" smtClean="0">
                <a:solidFill>
                  <a:srgbClr val="FFFF00"/>
                </a:solidFill>
              </a:rPr>
              <a:t>的</a:t>
            </a:r>
            <a:endParaRPr lang="en-US" altLang="zh-CN" sz="4000" dirty="0" smtClean="0">
              <a:solidFill>
                <a:srgbClr val="FFFF00"/>
              </a:solidFill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4000" dirty="0" smtClean="0">
                <a:solidFill>
                  <a:srgbClr val="FFFF00"/>
                </a:solidFill>
              </a:rPr>
              <a:t>图书馆知识空间服务体系建设</a:t>
            </a:r>
            <a:endParaRPr lang="zh-CN" altLang="en-US" sz="4000" dirty="0">
              <a:solidFill>
                <a:srgbClr val="FFFF00"/>
              </a:solidFill>
            </a:endParaRPr>
          </a:p>
        </p:txBody>
      </p:sp>
      <p:sp>
        <p:nvSpPr>
          <p:cNvPr id="3076" name="矩形 1"/>
          <p:cNvSpPr>
            <a:spLocks noChangeArrowheads="1"/>
          </p:cNvSpPr>
          <p:nvPr/>
        </p:nvSpPr>
        <p:spPr bwMode="auto">
          <a:xfrm>
            <a:off x="1532345" y="2886785"/>
            <a:ext cx="6257330" cy="173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zh-CN" altLang="en-US" sz="2400" dirty="0"/>
              <a:t>叶艳鸣</a:t>
            </a:r>
            <a:endParaRPr lang="en-US" altLang="zh-CN" sz="2400" dirty="0"/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zh-CN" sz="2400" dirty="0"/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2400" dirty="0"/>
              <a:t>中国索引学会副理事长     超星集团副总经理</a:t>
            </a:r>
            <a:endParaRPr lang="en-US" altLang="zh-CN" sz="2400" dirty="0"/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25723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矩形 1"/>
          <p:cNvSpPr>
            <a:spLocks noChangeArrowheads="1"/>
          </p:cNvSpPr>
          <p:nvPr/>
        </p:nvSpPr>
        <p:spPr bwMode="auto">
          <a:xfrm>
            <a:off x="689145" y="681540"/>
            <a:ext cx="8192910" cy="2992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4400" dirty="0" smtClean="0">
                <a:solidFill>
                  <a:srgbClr val="FFFF00"/>
                </a:solidFill>
              </a:rPr>
              <a:t>问题</a:t>
            </a:r>
            <a:endParaRPr lang="en-US" altLang="zh-CN" sz="4400" dirty="0" smtClean="0">
              <a:solidFill>
                <a:srgbClr val="FFFF00"/>
              </a:solidFill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4000" dirty="0"/>
              <a:t>系统独立，信息孤岛</a:t>
            </a:r>
            <a:endParaRPr lang="en-US" altLang="zh-CN" sz="4000" dirty="0"/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4000" dirty="0"/>
              <a:t>项目行为，难以</a:t>
            </a:r>
            <a:r>
              <a:rPr lang="zh-CN" altLang="en-US" sz="4000" dirty="0" smtClean="0"/>
              <a:t>持续</a:t>
            </a:r>
            <a:endParaRPr lang="zh-CN" altLang="en-US" sz="4000" dirty="0"/>
          </a:p>
        </p:txBody>
      </p:sp>
    </p:spTree>
    <p:extLst>
      <p:ext uri="{BB962C8B-B14F-4D97-AF65-F5344CB8AC3E}">
        <p14:creationId xmlns:p14="http://schemas.microsoft.com/office/powerpoint/2010/main" val="348534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9"/>
          <p:cNvSpPr txBox="1">
            <a:spLocks noChangeArrowheads="1"/>
          </p:cNvSpPr>
          <p:nvPr/>
        </p:nvSpPr>
        <p:spPr bwMode="auto">
          <a:xfrm>
            <a:off x="885564" y="1242360"/>
            <a:ext cx="7830868" cy="668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4" tIns="72004" rIns="144004" bIns="72004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024025"/>
            <a:r>
              <a:rPr lang="zh-CN" altLang="en-US" sz="3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依然以阵地服务为主，网络服务薄弱</a:t>
            </a:r>
          </a:p>
        </p:txBody>
      </p:sp>
      <p:sp>
        <p:nvSpPr>
          <p:cNvPr id="6" name="矩形 5"/>
          <p:cNvSpPr/>
          <p:nvPr/>
        </p:nvSpPr>
        <p:spPr>
          <a:xfrm>
            <a:off x="4069299" y="186485"/>
            <a:ext cx="1414762" cy="1169046"/>
          </a:xfrm>
          <a:prstGeom prst="rect">
            <a:avLst/>
          </a:prstGeom>
        </p:spPr>
        <p:txBody>
          <a:bodyPr wrap="none" lIns="129040" tIns="64520" rIns="129040" bIns="64520">
            <a:spAutoFit/>
          </a:bodyPr>
          <a:lstStyle/>
          <a:p>
            <a:pPr>
              <a:lnSpc>
                <a:spcPct val="150000"/>
              </a:lnSpc>
              <a:spcBef>
                <a:spcPct val="30000"/>
              </a:spcBef>
            </a:pPr>
            <a:r>
              <a:rPr lang="zh-CN" altLang="en-US" sz="45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危机</a:t>
            </a:r>
          </a:p>
        </p:txBody>
      </p:sp>
      <p:sp>
        <p:nvSpPr>
          <p:cNvPr id="9" name="文本框 9"/>
          <p:cNvSpPr txBox="1">
            <a:spLocks noChangeArrowheads="1"/>
          </p:cNvSpPr>
          <p:nvPr/>
        </p:nvSpPr>
        <p:spPr bwMode="auto">
          <a:xfrm>
            <a:off x="881591" y="1826293"/>
            <a:ext cx="7830869" cy="668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4" tIns="72004" rIns="144004" bIns="72004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024025"/>
            <a:r>
              <a:rPr lang="zh-CN" altLang="en-US" sz="3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馆员作用弱化、下降，图书馆边缘化</a:t>
            </a:r>
          </a:p>
        </p:txBody>
      </p:sp>
      <p:sp>
        <p:nvSpPr>
          <p:cNvPr id="10" name="文本框 9"/>
          <p:cNvSpPr txBox="1">
            <a:spLocks noChangeArrowheads="1"/>
          </p:cNvSpPr>
          <p:nvPr/>
        </p:nvSpPr>
        <p:spPr bwMode="auto">
          <a:xfrm>
            <a:off x="881390" y="2410225"/>
            <a:ext cx="7835418" cy="668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4" tIns="72004" rIns="144004" bIns="72004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024025"/>
            <a:r>
              <a:rPr lang="zh-CN" altLang="en-US" sz="3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源泛化同质化严重，利用效率不高</a:t>
            </a:r>
          </a:p>
        </p:txBody>
      </p:sp>
      <p:sp>
        <p:nvSpPr>
          <p:cNvPr id="11" name="文本框 9"/>
          <p:cNvSpPr txBox="1">
            <a:spLocks noChangeArrowheads="1"/>
          </p:cNvSpPr>
          <p:nvPr/>
        </p:nvSpPr>
        <p:spPr bwMode="auto">
          <a:xfrm>
            <a:off x="881389" y="3041829"/>
            <a:ext cx="7835420" cy="668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4" tIns="72004" rIns="144004" bIns="72004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024025"/>
            <a:r>
              <a:rPr lang="zh-CN" altLang="en-US" sz="3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方式缺乏广泛性，读者受益有限</a:t>
            </a:r>
          </a:p>
        </p:txBody>
      </p:sp>
      <p:sp>
        <p:nvSpPr>
          <p:cNvPr id="12" name="文本框 9"/>
          <p:cNvSpPr txBox="1">
            <a:spLocks noChangeArrowheads="1"/>
          </p:cNvSpPr>
          <p:nvPr/>
        </p:nvSpPr>
        <p:spPr bwMode="auto">
          <a:xfrm>
            <a:off x="2321750" y="3763428"/>
            <a:ext cx="4500502" cy="668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4" tIns="72004" rIns="144004" bIns="72004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024025"/>
            <a:r>
              <a:rPr lang="en-US" altLang="zh-CN" sz="3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  <a:endParaRPr lang="zh-CN" altLang="en-US" sz="3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2428298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25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  <p:bldP spid="10" grpId="0"/>
      <p:bldP spid="11" grpId="0"/>
      <p:bldP spid="1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97193" y="2160278"/>
            <a:ext cx="8229600" cy="1069833"/>
          </a:xfrm>
          <a:prstGeom prst="rect">
            <a:avLst/>
          </a:prstGeom>
        </p:spPr>
        <p:txBody>
          <a:bodyPr lIns="94449" tIns="47224" rIns="94449" bIns="47224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742950" indent="-28575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endParaRPr lang="en-US" altLang="zh-CN" sz="4100" dirty="0">
              <a:solidFill>
                <a:srgbClr val="FFFF00"/>
              </a:solidFill>
            </a:endParaRPr>
          </a:p>
        </p:txBody>
      </p:sp>
      <p:sp>
        <p:nvSpPr>
          <p:cNvPr id="4" name="文本框 9"/>
          <p:cNvSpPr txBox="1">
            <a:spLocks noChangeArrowheads="1"/>
          </p:cNvSpPr>
          <p:nvPr/>
        </p:nvSpPr>
        <p:spPr bwMode="auto">
          <a:xfrm>
            <a:off x="1016605" y="1716656"/>
            <a:ext cx="7380818" cy="699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4" tIns="72004" rIns="144004" bIns="72004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024025"/>
            <a:r>
              <a:rPr lang="zh-CN" altLang="en-US" sz="3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书馆在“十三五” 要解决什么呢？</a:t>
            </a:r>
          </a:p>
        </p:txBody>
      </p:sp>
    </p:spTree>
    <p:extLst>
      <p:ext uri="{BB962C8B-B14F-4D97-AF65-F5344CB8AC3E}">
        <p14:creationId xmlns:p14="http://schemas.microsoft.com/office/powerpoint/2010/main" val="11669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矩形 1"/>
          <p:cNvSpPr>
            <a:spLocks noChangeArrowheads="1"/>
          </p:cNvSpPr>
          <p:nvPr/>
        </p:nvSpPr>
        <p:spPr bwMode="auto">
          <a:xfrm>
            <a:off x="701570" y="1597912"/>
            <a:ext cx="8192910" cy="1238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4800" dirty="0" smtClean="0"/>
              <a:t>二、建设思路</a:t>
            </a:r>
            <a:endParaRPr lang="zh-CN" altLang="en-US" sz="4800" dirty="0"/>
          </a:p>
        </p:txBody>
      </p:sp>
    </p:spTree>
    <p:extLst>
      <p:ext uri="{BB962C8B-B14F-4D97-AF65-F5344CB8AC3E}">
        <p14:creationId xmlns:p14="http://schemas.microsoft.com/office/powerpoint/2010/main" val="2387496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97193" y="2160278"/>
            <a:ext cx="8229600" cy="1069833"/>
          </a:xfrm>
          <a:prstGeom prst="rect">
            <a:avLst/>
          </a:prstGeom>
        </p:spPr>
        <p:txBody>
          <a:bodyPr lIns="94449" tIns="47224" rIns="94449" bIns="47224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742950" indent="-28575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endParaRPr lang="en-US" altLang="zh-CN" sz="4100" dirty="0">
              <a:solidFill>
                <a:srgbClr val="FFFF00"/>
              </a:solidFill>
            </a:endParaRPr>
          </a:p>
        </p:txBody>
      </p:sp>
      <p:sp>
        <p:nvSpPr>
          <p:cNvPr id="4" name="文本框 9"/>
          <p:cNvSpPr txBox="1">
            <a:spLocks noChangeArrowheads="1"/>
          </p:cNvSpPr>
          <p:nvPr/>
        </p:nvSpPr>
        <p:spPr bwMode="auto">
          <a:xfrm>
            <a:off x="518528" y="1041581"/>
            <a:ext cx="8055893" cy="2115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4" tIns="72004" rIns="144004" bIns="72004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024025">
              <a:lnSpc>
                <a:spcPct val="200000"/>
              </a:lnSpc>
            </a:pPr>
            <a:r>
              <a:rPr lang="zh-CN" altLang="en-US" sz="32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十三五”图书馆要做的事：</a:t>
            </a:r>
            <a:endParaRPr lang="en-US" altLang="zh-CN" sz="3200" b="1" dirty="0">
              <a:solidFill>
                <a:srgbClr val="FFFF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1024025">
              <a:lnSpc>
                <a:spcPct val="200000"/>
              </a:lnSpc>
            </a:pPr>
            <a:r>
              <a:rPr lang="zh-CN" altLang="en-US" sz="32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构互联网</a:t>
            </a:r>
            <a:r>
              <a:rPr lang="en-US" altLang="zh-CN" sz="32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32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的全新知识服务体系</a:t>
            </a:r>
          </a:p>
        </p:txBody>
      </p:sp>
    </p:spTree>
    <p:extLst>
      <p:ext uri="{BB962C8B-B14F-4D97-AF65-F5344CB8AC3E}">
        <p14:creationId xmlns:p14="http://schemas.microsoft.com/office/powerpoint/2010/main" val="3573083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6057901" y="4156474"/>
            <a:ext cx="1600200" cy="26789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1pPr>
            <a:lvl2pPr marL="1048451" indent="-403250"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2pPr>
            <a:lvl3pPr marL="1613002" indent="-322600"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3pPr>
            <a:lvl4pPr marL="2258202" indent="-322600"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4pPr>
            <a:lvl5pPr marL="2903403" indent="-322600"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5pPr>
            <a:lvl6pPr marL="3548604" indent="-322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6pPr>
            <a:lvl7pPr marL="4193804" indent="-322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7pPr>
            <a:lvl8pPr marL="4839005" indent="-322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8pPr>
            <a:lvl9pPr marL="5484205" indent="-322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9pPr>
          </a:lstStyle>
          <a:p>
            <a:fld id="{7CDAE9E7-9E27-4F7C-8BA1-D948334669FB}" type="slidenum">
              <a:rPr lang="zh-CN" altLang="en-US" smtClean="0"/>
              <a:pPr/>
              <a:t>15</a:t>
            </a:fld>
            <a:endParaRPr lang="en-US" altLang="zh-CN" smtClean="0"/>
          </a:p>
        </p:txBody>
      </p:sp>
      <p:sp>
        <p:nvSpPr>
          <p:cNvPr id="19" name="矩形 18"/>
          <p:cNvSpPr/>
          <p:nvPr/>
        </p:nvSpPr>
        <p:spPr bwMode="auto">
          <a:xfrm>
            <a:off x="179512" y="1395668"/>
            <a:ext cx="9144000" cy="147994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37105" tIns="137105" rIns="137105" bIns="137105" spcCol="1792" anchor="ctr"/>
          <a:lstStyle/>
          <a:p>
            <a:pPr algn="ctr" defTabSz="1599560">
              <a:lnSpc>
                <a:spcPct val="90000"/>
              </a:lnSpc>
              <a:spcAft>
                <a:spcPct val="35000"/>
              </a:spcAft>
              <a:defRPr/>
            </a:pPr>
            <a:r>
              <a:rPr lang="zh-CN" altLang="en-US" sz="4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互联网</a:t>
            </a:r>
            <a:r>
              <a:rPr lang="en-US" altLang="zh-CN" sz="4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4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endParaRPr lang="en-US" altLang="zh-CN" sz="44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1599560">
              <a:lnSpc>
                <a:spcPct val="90000"/>
              </a:lnSpc>
              <a:spcAft>
                <a:spcPct val="35000"/>
              </a:spcAft>
              <a:defRPr/>
            </a:pPr>
            <a:r>
              <a:rPr lang="zh-CN" altLang="en-US" sz="4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en-US" altLang="zh-CN" sz="4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4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究竟给我们带来什么呢？</a:t>
            </a:r>
          </a:p>
        </p:txBody>
      </p:sp>
      <p:sp>
        <p:nvSpPr>
          <p:cNvPr id="20" name="矩形 19"/>
          <p:cNvSpPr/>
          <p:nvPr/>
        </p:nvSpPr>
        <p:spPr bwMode="auto">
          <a:xfrm>
            <a:off x="179512" y="1592892"/>
            <a:ext cx="9144000" cy="147994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37105" tIns="137105" rIns="137105" bIns="137105" spcCol="1792" anchor="ctr"/>
          <a:lstStyle/>
          <a:p>
            <a:pPr algn="ctr" defTabSz="1599560">
              <a:lnSpc>
                <a:spcPct val="90000"/>
              </a:lnSpc>
              <a:spcAft>
                <a:spcPct val="35000"/>
              </a:spcAft>
              <a:defRPr/>
            </a:pPr>
            <a:r>
              <a:rPr lang="zh-CN" altLang="en-US" sz="34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</a:p>
        </p:txBody>
      </p:sp>
    </p:spTree>
    <p:extLst>
      <p:ext uri="{BB962C8B-B14F-4D97-AF65-F5344CB8AC3E}">
        <p14:creationId xmlns:p14="http://schemas.microsoft.com/office/powerpoint/2010/main" val="4197233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gallery dir="l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 bwMode="auto">
          <a:xfrm>
            <a:off x="179514" y="2129761"/>
            <a:ext cx="4763587" cy="147994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37105" tIns="137105" rIns="137105" bIns="137105" spcCol="1792" anchor="ctr"/>
          <a:lstStyle/>
          <a:p>
            <a:pPr algn="ctr" defTabSz="1599560">
              <a:lnSpc>
                <a:spcPct val="90000"/>
              </a:lnSpc>
              <a:spcAft>
                <a:spcPct val="35000"/>
              </a:spcAft>
              <a:defRPr/>
            </a:pPr>
            <a:r>
              <a:rPr lang="zh-CN" altLang="en-US" sz="341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7025" y="246062"/>
            <a:ext cx="3694113" cy="465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7936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advClick="0">
        <p14:gallery dir="l"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84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84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9"/>
          <p:cNvSpPr>
            <a:spLocks noChangeArrowheads="1"/>
          </p:cNvSpPr>
          <p:nvPr/>
        </p:nvSpPr>
        <p:spPr bwMode="auto">
          <a:xfrm rot="13208316">
            <a:off x="1202996" y="594471"/>
            <a:ext cx="1416385" cy="2266958"/>
          </a:xfrm>
          <a:prstGeom prst="curvedLeftArrow">
            <a:avLst>
              <a:gd name="adj1" fmla="val 22963"/>
              <a:gd name="adj2" fmla="val 45926"/>
              <a:gd name="adj3" fmla="val 33333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lIns="129040" tIns="64520" rIns="129040" bIns="64520" anchor="ctr"/>
          <a:lstStyle/>
          <a:p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3" name="Text Box 6"/>
          <p:cNvSpPr txBox="1">
            <a:spLocks noChangeArrowheads="1"/>
          </p:cNvSpPr>
          <p:nvPr/>
        </p:nvSpPr>
        <p:spPr bwMode="auto">
          <a:xfrm>
            <a:off x="5840386" y="2643759"/>
            <a:ext cx="2874553" cy="1591394"/>
          </a:xfrm>
          <a:prstGeom prst="rect">
            <a:avLst/>
          </a:prstGeom>
          <a:solidFill>
            <a:srgbClr val="CC00CC"/>
          </a:solidFill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129040" tIns="64520" rIns="129040" bIns="64520" anchor="ctr">
            <a:noAutofit/>
          </a:bodyPr>
          <a:lstStyle/>
          <a:p>
            <a:pPr algn="ctr"/>
            <a:r>
              <a:rPr lang="zh-CN" altLang="en-US" sz="2400" b="1" dirty="0">
                <a:solidFill>
                  <a:srgbClr val="FFFFFF"/>
                </a:solidFill>
                <a:latin typeface="黑体" pitchFamily="49" charset="-122"/>
                <a:ea typeface="黑体" pitchFamily="49" charset="-122"/>
              </a:rPr>
              <a:t>购买资源</a:t>
            </a:r>
            <a:endParaRPr lang="en-US" altLang="zh-CN" sz="2400" b="1" dirty="0">
              <a:solidFill>
                <a:srgbClr val="FFFFFF"/>
              </a:solidFill>
              <a:latin typeface="黑体" pitchFamily="49" charset="-122"/>
              <a:ea typeface="黑体" pitchFamily="49" charset="-122"/>
            </a:endParaRPr>
          </a:p>
          <a:p>
            <a:pPr algn="ctr"/>
            <a:r>
              <a:rPr lang="zh-CN" altLang="en-US" sz="2400" b="1" dirty="0">
                <a:solidFill>
                  <a:srgbClr val="FFFFFF"/>
                </a:solidFill>
                <a:latin typeface="黑体" pitchFamily="49" charset="-122"/>
                <a:ea typeface="黑体" pitchFamily="49" charset="-122"/>
              </a:rPr>
              <a:t>自建资源</a:t>
            </a:r>
            <a:endParaRPr lang="en-US" altLang="zh-CN" sz="2400" b="1" dirty="0">
              <a:solidFill>
                <a:srgbClr val="FFFFFF"/>
              </a:solidFill>
              <a:latin typeface="黑体" pitchFamily="49" charset="-122"/>
              <a:ea typeface="黑体" pitchFamily="49" charset="-122"/>
            </a:endParaRPr>
          </a:p>
          <a:p>
            <a:pPr algn="ctr"/>
            <a:r>
              <a:rPr lang="zh-CN" altLang="en-US" sz="2400" b="1" dirty="0">
                <a:solidFill>
                  <a:srgbClr val="FFFFFF"/>
                </a:solidFill>
                <a:latin typeface="黑体" pitchFamily="49" charset="-122"/>
                <a:ea typeface="黑体" pitchFamily="49" charset="-122"/>
              </a:rPr>
              <a:t>共享资源</a:t>
            </a:r>
            <a:endParaRPr lang="en-US" altLang="zh-CN" sz="2400" b="1" dirty="0">
              <a:solidFill>
                <a:srgbClr val="FFFFFF"/>
              </a:solidFill>
              <a:latin typeface="黑体" pitchFamily="49" charset="-122"/>
              <a:ea typeface="黑体" pitchFamily="49" charset="-122"/>
            </a:endParaRPr>
          </a:p>
          <a:p>
            <a:pPr algn="ctr"/>
            <a:r>
              <a:rPr lang="en-US" altLang="zh-CN" sz="2400" b="1" dirty="0">
                <a:solidFill>
                  <a:srgbClr val="FFFFFF"/>
                </a:solidFill>
                <a:latin typeface="黑体" pitchFamily="49" charset="-122"/>
                <a:ea typeface="黑体" pitchFamily="49" charset="-122"/>
              </a:rPr>
              <a:t>……</a:t>
            </a:r>
            <a:endParaRPr lang="zh-CN" altLang="en-US" sz="2400" b="1" dirty="0">
              <a:solidFill>
                <a:srgbClr val="FFFFFF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467544" y="2512755"/>
            <a:ext cx="3039220" cy="1630334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129040" tIns="64520" rIns="129040" bIns="64520" anchor="ctr"/>
          <a:lstStyle/>
          <a:p>
            <a:pPr algn="ctr"/>
            <a:r>
              <a:rPr lang="zh-CN" altLang="en-US" sz="2400" b="1" dirty="0">
                <a:solidFill>
                  <a:srgbClr val="FFFFFF"/>
                </a:solidFill>
                <a:ea typeface="黑体" pitchFamily="49" charset="-122"/>
              </a:rPr>
              <a:t>机构专题</a:t>
            </a:r>
            <a:endParaRPr lang="en-US" altLang="zh-CN" sz="2400" b="1" dirty="0">
              <a:solidFill>
                <a:srgbClr val="FFFFFF"/>
              </a:solidFill>
              <a:ea typeface="黑体" pitchFamily="49" charset="-122"/>
            </a:endParaRPr>
          </a:p>
          <a:p>
            <a:pPr algn="ctr"/>
            <a:r>
              <a:rPr lang="zh-CN" altLang="en-US" sz="2400" b="1" dirty="0">
                <a:solidFill>
                  <a:srgbClr val="FFFFFF"/>
                </a:solidFill>
                <a:ea typeface="黑体" pitchFamily="49" charset="-122"/>
              </a:rPr>
              <a:t>个人专题</a:t>
            </a:r>
            <a:endParaRPr lang="en-US" altLang="zh-CN" sz="2400" b="1" dirty="0">
              <a:solidFill>
                <a:srgbClr val="FFFFFF"/>
              </a:solidFill>
              <a:ea typeface="黑体" pitchFamily="49" charset="-122"/>
            </a:endParaRPr>
          </a:p>
          <a:p>
            <a:pPr algn="ctr"/>
            <a:r>
              <a:rPr lang="zh-CN" altLang="en-US" sz="2400" b="1" dirty="0">
                <a:solidFill>
                  <a:srgbClr val="FFFFFF"/>
                </a:solidFill>
                <a:ea typeface="黑体" pitchFamily="49" charset="-122"/>
              </a:rPr>
              <a:t>热点专题</a:t>
            </a:r>
            <a:endParaRPr lang="en-US" altLang="zh-CN" sz="2400" b="1" dirty="0">
              <a:solidFill>
                <a:srgbClr val="FFFFFF"/>
              </a:solidFill>
              <a:ea typeface="黑体" pitchFamily="49" charset="-122"/>
            </a:endParaRPr>
          </a:p>
          <a:p>
            <a:pPr algn="ctr"/>
            <a:r>
              <a:rPr lang="en-US" altLang="zh-CN" sz="2400" b="1" dirty="0">
                <a:solidFill>
                  <a:srgbClr val="FFFFFF"/>
                </a:solidFill>
                <a:ea typeface="黑体" pitchFamily="49" charset="-122"/>
              </a:rPr>
              <a:t>……</a:t>
            </a:r>
            <a:endParaRPr lang="zh-CN" altLang="en-US" sz="2400" b="1" dirty="0">
              <a:solidFill>
                <a:srgbClr val="FFFFFF"/>
              </a:solidFill>
              <a:ea typeface="黑体" pitchFamily="49" charset="-122"/>
            </a:endParaRPr>
          </a:p>
        </p:txBody>
      </p:sp>
      <p:sp>
        <p:nvSpPr>
          <p:cNvPr id="5" name="AutoShape 8"/>
          <p:cNvSpPr>
            <a:spLocks noChangeArrowheads="1"/>
          </p:cNvSpPr>
          <p:nvPr/>
        </p:nvSpPr>
        <p:spPr bwMode="auto">
          <a:xfrm rot="19315282">
            <a:off x="6410654" y="531304"/>
            <a:ext cx="1382071" cy="2202557"/>
          </a:xfrm>
          <a:prstGeom prst="curvedLeftArrow">
            <a:avLst>
              <a:gd name="adj1" fmla="val 22963"/>
              <a:gd name="adj2" fmla="val 45926"/>
              <a:gd name="adj3" fmla="val 42147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lIns="129040" tIns="64520" rIns="129040" bIns="64520" anchor="ctr"/>
          <a:lstStyle/>
          <a:p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6" name="AutoShape 9"/>
          <p:cNvSpPr>
            <a:spLocks noChangeArrowheads="1"/>
          </p:cNvSpPr>
          <p:nvPr/>
        </p:nvSpPr>
        <p:spPr bwMode="auto">
          <a:xfrm rot="5400000">
            <a:off x="4143227" y="2859769"/>
            <a:ext cx="1044119" cy="3348403"/>
          </a:xfrm>
          <a:prstGeom prst="curvedLeftArrow">
            <a:avLst>
              <a:gd name="adj1" fmla="val 22963"/>
              <a:gd name="adj2" fmla="val 45926"/>
              <a:gd name="adj3" fmla="val 33333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lIns="129040" tIns="64520" rIns="129040" bIns="64520" anchor="ctr"/>
          <a:lstStyle/>
          <a:p>
            <a:endParaRPr lang="zh-CN" altLang="en-US" sz="1000">
              <a:solidFill>
                <a:srgbClr val="FFFFFF"/>
              </a:solidFill>
            </a:endParaRPr>
          </a:p>
        </p:txBody>
      </p:sp>
      <p:sp>
        <p:nvSpPr>
          <p:cNvPr id="7" name="Text Box 10"/>
          <p:cNvSpPr txBox="1">
            <a:spLocks noChangeArrowheads="1"/>
          </p:cNvSpPr>
          <p:nvPr/>
        </p:nvSpPr>
        <p:spPr bwMode="auto">
          <a:xfrm>
            <a:off x="4283968" y="3597866"/>
            <a:ext cx="1057870" cy="1053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040" tIns="64520" rIns="129040" bIns="64520">
            <a:spAutoFit/>
          </a:bodyPr>
          <a:lstStyle/>
          <a:p>
            <a:r>
              <a:rPr lang="zh-CN" altLang="en-US" sz="2000" b="1" spc="423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采集</a:t>
            </a:r>
            <a:endParaRPr lang="en-US" altLang="zh-CN" sz="2000" b="1" spc="423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b="1" spc="423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组</a:t>
            </a:r>
            <a:endParaRPr lang="en-US" altLang="zh-CN" sz="2000" b="1" spc="423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b="1" spc="423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现</a:t>
            </a:r>
          </a:p>
        </p:txBody>
      </p:sp>
      <p:sp>
        <p:nvSpPr>
          <p:cNvPr id="8" name="Text Box 11"/>
          <p:cNvSpPr txBox="1">
            <a:spLocks noChangeArrowheads="1"/>
          </p:cNvSpPr>
          <p:nvPr/>
        </p:nvSpPr>
        <p:spPr bwMode="auto">
          <a:xfrm>
            <a:off x="1187869" y="1587204"/>
            <a:ext cx="1446638" cy="745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040" tIns="64520" rIns="129040" bIns="64520">
            <a:spAutoFit/>
          </a:bodyPr>
          <a:lstStyle/>
          <a:p>
            <a:pPr algn="ctr"/>
            <a:r>
              <a:rPr lang="zh-CN" altLang="en-US" sz="2000" b="1" spc="423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利用</a:t>
            </a:r>
            <a:endParaRPr lang="en-US" altLang="zh-CN" sz="2000" b="1" spc="423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2000" b="1" spc="423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造</a:t>
            </a: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2991086" y="929582"/>
            <a:ext cx="2849297" cy="1583174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129040" tIns="64520" rIns="129040" bIns="64520" anchor="ctr">
            <a:noAutofit/>
          </a:bodyPr>
          <a:lstStyle/>
          <a:p>
            <a:pPr algn="ctr"/>
            <a:r>
              <a:rPr lang="zh-CN" altLang="en-US" sz="2400" b="1" dirty="0">
                <a:solidFill>
                  <a:srgbClr val="FFFFFF"/>
                </a:solidFill>
                <a:latin typeface="黑体" pitchFamily="49" charset="-122"/>
                <a:ea typeface="黑体" pitchFamily="49" charset="-122"/>
              </a:rPr>
              <a:t>用户</a:t>
            </a:r>
            <a:endParaRPr lang="en-US" altLang="zh-CN" sz="2400" b="1" dirty="0">
              <a:solidFill>
                <a:srgbClr val="FFFFFF"/>
              </a:solidFill>
              <a:latin typeface="黑体" pitchFamily="49" charset="-122"/>
              <a:ea typeface="黑体" pitchFamily="49" charset="-122"/>
            </a:endParaRPr>
          </a:p>
          <a:p>
            <a:pPr algn="ctr"/>
            <a:r>
              <a:rPr lang="zh-CN" altLang="en-US" sz="2400" b="1" dirty="0">
                <a:solidFill>
                  <a:srgbClr val="FFFFFF"/>
                </a:solidFill>
                <a:latin typeface="黑体" pitchFamily="49" charset="-122"/>
                <a:ea typeface="黑体" pitchFamily="49" charset="-122"/>
              </a:rPr>
              <a:t>（作者、读者、管理者）</a:t>
            </a:r>
          </a:p>
        </p:txBody>
      </p:sp>
      <p:sp>
        <p:nvSpPr>
          <p:cNvPr id="10" name="Text Box 10"/>
          <p:cNvSpPr txBox="1">
            <a:spLocks noChangeArrowheads="1"/>
          </p:cNvSpPr>
          <p:nvPr/>
        </p:nvSpPr>
        <p:spPr bwMode="auto">
          <a:xfrm>
            <a:off x="6219787" y="1632582"/>
            <a:ext cx="1277538" cy="745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040" tIns="64520" rIns="129040" bIns="64520">
            <a:spAutoFit/>
          </a:bodyPr>
          <a:lstStyle/>
          <a:p>
            <a:r>
              <a:rPr lang="zh-CN" altLang="en-US" sz="2000" b="1" spc="423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作</a:t>
            </a:r>
            <a:endParaRPr lang="en-US" altLang="zh-CN" sz="2000" b="1" spc="423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b="1" spc="423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表</a:t>
            </a:r>
            <a:endParaRPr lang="zh-CN" altLang="en-US" sz="2000" b="1" spc="423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27"/>
          <p:cNvSpPr txBox="1"/>
          <p:nvPr/>
        </p:nvSpPr>
        <p:spPr>
          <a:xfrm>
            <a:off x="323528" y="141481"/>
            <a:ext cx="8568952" cy="745853"/>
          </a:xfrm>
          <a:prstGeom prst="rect">
            <a:avLst/>
          </a:prstGeom>
          <a:noFill/>
        </p:spPr>
        <p:txBody>
          <a:bodyPr wrap="square" lIns="129040" tIns="64520" rIns="129040" bIns="64520" rtlCol="0">
            <a:spAutoFit/>
          </a:bodyPr>
          <a:lstStyle/>
          <a:p>
            <a:pPr algn="ctr"/>
            <a:r>
              <a:rPr lang="zh-CN" altLang="en-US" sz="40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建一体化的知识组织与服务体系</a:t>
            </a:r>
            <a:endParaRPr lang="en-US" altLang="zh-CN" sz="4000" b="1" dirty="0">
              <a:solidFill>
                <a:srgbClr val="FFFF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1593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rism isContent="1" isInverted="1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75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25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3" grpId="0" animBg="1"/>
      <p:bldP spid="4" grpId="0" animBg="1"/>
      <p:bldP spid="5" grpId="0" animBg="1"/>
      <p:bldP spid="6" grpId="0" animBg="1"/>
      <p:bldP spid="7" grpId="0"/>
      <p:bldP spid="8" grpId="0"/>
      <p:bldP spid="9" grpId="0" animBg="1"/>
      <p:bldP spid="1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6057901" y="4156474"/>
            <a:ext cx="1600200" cy="26789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1pPr>
            <a:lvl2pPr marL="1048451" indent="-403250"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2pPr>
            <a:lvl3pPr marL="1613002" indent="-322600"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3pPr>
            <a:lvl4pPr marL="2258202" indent="-322600"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4pPr>
            <a:lvl5pPr marL="2903403" indent="-322600"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5pPr>
            <a:lvl6pPr marL="3548604" indent="-322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6pPr>
            <a:lvl7pPr marL="4193804" indent="-322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7pPr>
            <a:lvl8pPr marL="4839005" indent="-322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8pPr>
            <a:lvl9pPr marL="5484205" indent="-322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9pPr>
          </a:lstStyle>
          <a:p>
            <a:fld id="{3EF9B2D4-93D3-417E-A214-1ED68B4C5D20}" type="slidenum">
              <a:rPr lang="zh-CN" altLang="en-US" sz="700"/>
              <a:pPr/>
              <a:t>18</a:t>
            </a:fld>
            <a:endParaRPr lang="en-US" altLang="zh-CN" sz="700"/>
          </a:p>
        </p:txBody>
      </p:sp>
      <p:sp>
        <p:nvSpPr>
          <p:cNvPr id="134147" name="矩形 8"/>
          <p:cNvSpPr>
            <a:spLocks noChangeArrowheads="1"/>
          </p:cNvSpPr>
          <p:nvPr/>
        </p:nvSpPr>
        <p:spPr bwMode="auto">
          <a:xfrm>
            <a:off x="1357316" y="642942"/>
            <a:ext cx="6643687" cy="1055837"/>
          </a:xfrm>
          <a:prstGeom prst="rect">
            <a:avLst/>
          </a:prstGeom>
          <a:noFill/>
          <a:ln>
            <a:noFill/>
          </a:ln>
          <a:extLst/>
        </p:spPr>
        <p:txBody>
          <a:bodyPr lIns="108363" tIns="54183" rIns="108363" bIns="54183">
            <a:spAutoFit/>
          </a:bodyPr>
          <a:lstStyle>
            <a:lvl1pPr>
              <a:defRPr i="1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>
              <a:defRPr i="1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>
              <a:defRPr i="1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>
              <a:defRPr i="1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>
              <a:defRPr i="1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algn="ctr">
              <a:lnSpc>
                <a:spcPct val="150000"/>
              </a:lnSpc>
              <a:buFont typeface="Arial" panose="020B0604020202020204" pitchFamily="34" charset="0"/>
              <a:buNone/>
              <a:defRPr/>
            </a:pPr>
            <a:endParaRPr lang="zh-CN" altLang="en-US" sz="4100" b="1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4581" name="Rectangle 7"/>
          <p:cNvSpPr>
            <a:spLocks noChangeArrowheads="1"/>
          </p:cNvSpPr>
          <p:nvPr/>
        </p:nvSpPr>
        <p:spPr bwMode="auto">
          <a:xfrm>
            <a:off x="571501" y="522685"/>
            <a:ext cx="8191500" cy="278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040" tIns="64520" rIns="129040" bIns="64520" anchor="ctr"/>
          <a:lstStyle>
            <a:lvl1pPr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1pPr>
            <a:lvl2pPr marL="742950" indent="-285750"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2pPr>
            <a:lvl3pPr marL="1143000" indent="-228600"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3pPr>
            <a:lvl4pPr marL="1600200" indent="-228600"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4pPr>
            <a:lvl5pPr marL="2057400" indent="-228600"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algn="ctr" eaLnBrk="1" hangingPunct="1"/>
            <a:r>
              <a:rPr lang="zh-CN" altLang="en-US" sz="4500" b="1" i="0" dirty="0">
                <a:solidFill>
                  <a:srgbClr val="FFFF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互联网</a:t>
            </a:r>
            <a:r>
              <a:rPr lang="en-US" altLang="zh-CN" sz="4500" b="1" i="0" dirty="0">
                <a:solidFill>
                  <a:srgbClr val="FFFF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+</a:t>
            </a:r>
            <a:r>
              <a:rPr lang="zh-CN" altLang="en-US" sz="4500" b="1" i="0" dirty="0">
                <a:solidFill>
                  <a:srgbClr val="FFFF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下的图书馆服务体系</a:t>
            </a:r>
          </a:p>
        </p:txBody>
      </p:sp>
      <p:grpSp>
        <p:nvGrpSpPr>
          <p:cNvPr id="2" name="组合 9"/>
          <p:cNvGrpSpPr>
            <a:grpSpLocks/>
          </p:cNvGrpSpPr>
          <p:nvPr/>
        </p:nvGrpSpPr>
        <p:grpSpPr bwMode="auto">
          <a:xfrm>
            <a:off x="-18510" y="1207295"/>
            <a:ext cx="4374201" cy="1162050"/>
            <a:chOff x="744" y="145603"/>
            <a:chExt cx="2902148" cy="1741289"/>
          </a:xfrm>
        </p:grpSpPr>
        <p:sp>
          <p:nvSpPr>
            <p:cNvPr id="17" name="矩形 16"/>
            <p:cNvSpPr/>
            <p:nvPr/>
          </p:nvSpPr>
          <p:spPr>
            <a:xfrm>
              <a:off x="744" y="145603"/>
              <a:ext cx="2902148" cy="1741289"/>
            </a:xfrm>
            <a:prstGeom prst="rect">
              <a:avLst/>
            </a:prstGeom>
            <a:solidFill>
              <a:srgbClr val="FFC0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矩形 17"/>
            <p:cNvSpPr/>
            <p:nvPr/>
          </p:nvSpPr>
          <p:spPr>
            <a:xfrm>
              <a:off x="744" y="145603"/>
              <a:ext cx="2902148" cy="174128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7155" tIns="97155" rIns="97155" bIns="97155" spcCol="1270" anchor="ctr"/>
            <a:lstStyle/>
            <a:p>
              <a:pPr algn="ctr" defTabSz="159956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zh-CN" altLang="en-US" sz="2800" b="1" dirty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  <a:sym typeface="微软雅黑" pitchFamily="34" charset="-122"/>
                </a:rPr>
                <a:t>馆藏资源服务体系：</a:t>
              </a:r>
              <a:endParaRPr lang="en-US" altLang="zh-CN" sz="28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endParaRPr>
            </a:p>
            <a:p>
              <a:pPr algn="ctr" defTabSz="159956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zh-CN" altLang="en-US" sz="2800" b="1" dirty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  <a:sym typeface="微软雅黑" pitchFamily="34" charset="-122"/>
                </a:rPr>
                <a:t>藏、借、阅、咨一体化</a:t>
              </a:r>
            </a:p>
          </p:txBody>
        </p:sp>
      </p:grpSp>
      <p:grpSp>
        <p:nvGrpSpPr>
          <p:cNvPr id="3" name="组合 10"/>
          <p:cNvGrpSpPr/>
          <p:nvPr/>
        </p:nvGrpSpPr>
        <p:grpSpPr>
          <a:xfrm>
            <a:off x="4374486" y="1207483"/>
            <a:ext cx="4788024" cy="2264367"/>
            <a:chOff x="3193107" y="145603"/>
            <a:chExt cx="2902148" cy="1741289"/>
          </a:xfrm>
          <a:solidFill>
            <a:srgbClr val="00B0F0"/>
          </a:solidFill>
        </p:grpSpPr>
        <p:sp>
          <p:nvSpPr>
            <p:cNvPr id="15" name="矩形 14"/>
            <p:cNvSpPr/>
            <p:nvPr/>
          </p:nvSpPr>
          <p:spPr>
            <a:xfrm>
              <a:off x="3193107" y="145603"/>
              <a:ext cx="2902148" cy="1741289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-10675659"/>
                <a:satOff val="-50000"/>
                <a:lumOff val="31569"/>
                <a:alphaOff val="0"/>
              </a:schemeClr>
            </a:fillRef>
            <a:effectRef idx="0">
              <a:schemeClr val="accent2">
                <a:hueOff val="-10675659"/>
                <a:satOff val="-50000"/>
                <a:lumOff val="3156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矩形 15"/>
            <p:cNvSpPr/>
            <p:nvPr/>
          </p:nvSpPr>
          <p:spPr>
            <a:xfrm>
              <a:off x="3193107" y="145603"/>
              <a:ext cx="2902148" cy="174128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7155" tIns="97155" rIns="97155" bIns="97155" spcCol="1270" anchor="ctr"/>
            <a:lstStyle/>
            <a:p>
              <a:pPr algn="ctr" defTabSz="159956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zh-CN" altLang="en-US" sz="2800" b="1" dirty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  <a:sym typeface="微软雅黑" pitchFamily="34" charset="-122"/>
                </a:rPr>
                <a:t>数字资源服务体系：</a:t>
              </a:r>
              <a:endParaRPr lang="en-US" altLang="zh-CN" sz="28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endParaRPr>
            </a:p>
            <a:p>
              <a:pPr algn="ctr" defTabSz="159956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zh-CN" altLang="en-US" sz="2800" b="1" dirty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  <a:sym typeface="微软雅黑" pitchFamily="34" charset="-122"/>
                </a:rPr>
                <a:t>全网络、全终端、立体化</a:t>
              </a:r>
            </a:p>
          </p:txBody>
        </p:sp>
      </p:grpSp>
      <p:grpSp>
        <p:nvGrpSpPr>
          <p:cNvPr id="4" name="组合 11"/>
          <p:cNvGrpSpPr/>
          <p:nvPr/>
        </p:nvGrpSpPr>
        <p:grpSpPr>
          <a:xfrm>
            <a:off x="0" y="3381844"/>
            <a:ext cx="9144000" cy="1761659"/>
            <a:chOff x="1679840" y="2176010"/>
            <a:chExt cx="2902148" cy="1741289"/>
          </a:xfrm>
          <a:solidFill>
            <a:srgbClr val="00CC00"/>
          </a:solidFill>
        </p:grpSpPr>
        <p:sp>
          <p:nvSpPr>
            <p:cNvPr id="13" name="矩形 12"/>
            <p:cNvSpPr/>
            <p:nvPr/>
          </p:nvSpPr>
          <p:spPr>
            <a:xfrm>
              <a:off x="1679840" y="2176010"/>
              <a:ext cx="2902148" cy="1741289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-21351317"/>
                <a:satOff val="-100000"/>
                <a:lumOff val="63137"/>
                <a:alphaOff val="0"/>
              </a:schemeClr>
            </a:fillRef>
            <a:effectRef idx="0">
              <a:schemeClr val="accent2">
                <a:hueOff val="-21351317"/>
                <a:satOff val="-100000"/>
                <a:lumOff val="63137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矩形 13"/>
            <p:cNvSpPr/>
            <p:nvPr/>
          </p:nvSpPr>
          <p:spPr>
            <a:xfrm>
              <a:off x="1679840" y="2176010"/>
              <a:ext cx="2902148" cy="174128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7155" tIns="97155" rIns="97155" bIns="97155" spcCol="1270" anchor="ctr"/>
            <a:lstStyle/>
            <a:p>
              <a:pPr algn="ctr" defTabSz="159956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zh-CN" altLang="en-US" sz="2800" b="1" dirty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  <a:sym typeface="微软雅黑" pitchFamily="34" charset="-122"/>
                </a:rPr>
                <a:t>知识服务空间体系：</a:t>
              </a:r>
              <a:endParaRPr lang="en-US" altLang="zh-CN" sz="28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endParaRPr>
            </a:p>
            <a:p>
              <a:pPr algn="ctr" defTabSz="159956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zh-CN" altLang="en-US" sz="2800" b="1" dirty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  <a:sym typeface="微软雅黑" pitchFamily="34" charset="-122"/>
                </a:rPr>
                <a:t>自主性、嵌入式、个性化</a:t>
              </a:r>
              <a:endParaRPr lang="zh-CN" altLang="en-US" sz="28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组合 9"/>
          <p:cNvGrpSpPr>
            <a:grpSpLocks/>
          </p:cNvGrpSpPr>
          <p:nvPr/>
        </p:nvGrpSpPr>
        <p:grpSpPr bwMode="auto">
          <a:xfrm>
            <a:off x="0" y="2314165"/>
            <a:ext cx="4355976" cy="1067675"/>
            <a:chOff x="744" y="145603"/>
            <a:chExt cx="2902148" cy="1741289"/>
          </a:xfrm>
        </p:grpSpPr>
        <p:sp>
          <p:nvSpPr>
            <p:cNvPr id="20" name="矩形 19"/>
            <p:cNvSpPr/>
            <p:nvPr/>
          </p:nvSpPr>
          <p:spPr>
            <a:xfrm>
              <a:off x="744" y="145603"/>
              <a:ext cx="2902148" cy="1741289"/>
            </a:xfrm>
            <a:prstGeom prst="rect">
              <a:avLst/>
            </a:prstGeom>
            <a:solidFill>
              <a:srgbClr val="FF33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矩形 20"/>
            <p:cNvSpPr/>
            <p:nvPr/>
          </p:nvSpPr>
          <p:spPr>
            <a:xfrm>
              <a:off x="744" y="145603"/>
              <a:ext cx="2902148" cy="174128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7155" tIns="97155" rIns="97155" bIns="97155" spcCol="1270" anchor="ctr"/>
            <a:lstStyle/>
            <a:p>
              <a:pPr algn="ctr" defTabSz="159956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zh-CN" altLang="en-US" sz="2800" b="1" dirty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  <a:sym typeface="微软雅黑" pitchFamily="34" charset="-122"/>
                </a:rPr>
                <a:t>集成化服务体系：</a:t>
              </a:r>
              <a:endParaRPr lang="en-US" altLang="zh-CN" sz="28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endParaRPr>
            </a:p>
            <a:p>
              <a:pPr algn="ctr" defTabSz="159956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zh-CN" altLang="en-US" sz="2800" b="1" dirty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  <a:sym typeface="微软雅黑" pitchFamily="34" charset="-122"/>
                </a:rPr>
                <a:t>线下、线上结合全时空化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67551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gallery dir="l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文本框 27"/>
          <p:cNvSpPr txBox="1"/>
          <p:nvPr/>
        </p:nvSpPr>
        <p:spPr>
          <a:xfrm>
            <a:off x="785846" y="526328"/>
            <a:ext cx="7708900" cy="915130"/>
          </a:xfrm>
          <a:prstGeom prst="rect">
            <a:avLst/>
          </a:prstGeom>
          <a:noFill/>
        </p:spPr>
        <p:txBody>
          <a:bodyPr wrap="square" lIns="129040" tIns="64520" rIns="129040" bIns="64520" rtlCol="0">
            <a:spAutoFit/>
          </a:bodyPr>
          <a:lstStyle/>
          <a:p>
            <a:pPr marL="278148" algn="ctr">
              <a:spcBef>
                <a:spcPts val="1270"/>
              </a:spcBef>
              <a:defRPr/>
            </a:pPr>
            <a:r>
              <a:rPr lang="zh-CN" altLang="en-US" sz="51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展目标</a:t>
            </a:r>
            <a:endParaRPr lang="en-US" altLang="zh-CN" sz="5100" b="1" dirty="0">
              <a:solidFill>
                <a:srgbClr val="FFFF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2"/>
          <p:cNvSpPr>
            <a:spLocks noChangeArrowheads="1"/>
          </p:cNvSpPr>
          <p:nvPr/>
        </p:nvSpPr>
        <p:spPr bwMode="auto">
          <a:xfrm>
            <a:off x="1646676" y="1529242"/>
            <a:ext cx="5553617" cy="356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040" tIns="64520" rIns="129040" bIns="64520">
            <a:spAutoFit/>
          </a:bodyPr>
          <a:lstStyle/>
          <a:p>
            <a:pPr marL="923348" indent="-645201">
              <a:spcBef>
                <a:spcPts val="1270"/>
              </a:spcBef>
              <a:buClr>
                <a:srgbClr val="FF0000"/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3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统一建库平台</a:t>
            </a:r>
            <a:endParaRPr lang="en-US" altLang="zh-CN" sz="3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23348" indent="-645201">
              <a:spcBef>
                <a:spcPts val="1270"/>
              </a:spcBef>
              <a:buClr>
                <a:srgbClr val="FF0000"/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3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统一数据架构</a:t>
            </a:r>
            <a:endParaRPr lang="en-US" altLang="zh-CN" sz="3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23348" indent="-645201">
              <a:spcBef>
                <a:spcPts val="1270"/>
              </a:spcBef>
              <a:buClr>
                <a:srgbClr val="FF0000"/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3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统一使用平台</a:t>
            </a:r>
            <a:endParaRPr lang="en-US" altLang="zh-CN" sz="3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23348" indent="-645201">
              <a:spcBef>
                <a:spcPts val="1270"/>
              </a:spcBef>
              <a:buClr>
                <a:srgbClr val="FF0000"/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3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组织</a:t>
            </a:r>
            <a:endParaRPr lang="en-US" altLang="zh-CN" sz="3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23348" indent="-645201">
              <a:spcBef>
                <a:spcPts val="1270"/>
              </a:spcBef>
              <a:buClr>
                <a:srgbClr val="FF0000"/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3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适应</a:t>
            </a:r>
            <a:endParaRPr lang="en-US" altLang="zh-CN" sz="3200" b="1" dirty="0">
              <a:solidFill>
                <a:srgbClr val="008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Clr>
                <a:srgbClr val="FF0000"/>
              </a:buClr>
              <a:buFont typeface="Arial" panose="020B0604020202020204" pitchFamily="34" charset="0"/>
              <a:buNone/>
              <a:defRPr/>
            </a:pPr>
            <a:endParaRPr lang="en-US" altLang="zh-CN" sz="2000" b="1" dirty="0">
              <a:solidFill>
                <a:srgbClr val="008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36251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rism isContent="1" isInverted="1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矩形 1"/>
          <p:cNvSpPr>
            <a:spLocks noChangeArrowheads="1"/>
          </p:cNvSpPr>
          <p:nvPr/>
        </p:nvSpPr>
        <p:spPr bwMode="auto">
          <a:xfrm>
            <a:off x="701570" y="1597912"/>
            <a:ext cx="8192910" cy="1238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4800" dirty="0" smtClean="0"/>
              <a:t>一、关于图书馆的发展</a:t>
            </a:r>
            <a:endParaRPr lang="zh-CN" altLang="en-US" sz="4800" dirty="0"/>
          </a:p>
        </p:txBody>
      </p:sp>
    </p:spTree>
    <p:extLst>
      <p:ext uri="{BB962C8B-B14F-4D97-AF65-F5344CB8AC3E}">
        <p14:creationId xmlns:p14="http://schemas.microsoft.com/office/powerpoint/2010/main" val="875546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Box 59"/>
          <p:cNvSpPr txBox="1"/>
          <p:nvPr/>
        </p:nvSpPr>
        <p:spPr>
          <a:xfrm>
            <a:off x="602922" y="379555"/>
            <a:ext cx="3397877" cy="558619"/>
          </a:xfrm>
          <a:prstGeom prst="rect">
            <a:avLst/>
          </a:prstGeom>
          <a:noFill/>
        </p:spPr>
        <p:txBody>
          <a:bodyPr wrap="square" lIns="65536" tIns="32768" rIns="65536" bIns="32768" rtlCol="0">
            <a:spAutoFit/>
          </a:bodyPr>
          <a:lstStyle/>
          <a:p>
            <a:r>
              <a:rPr lang="zh-CN" altLang="en-US" sz="32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知识服务运行机制</a:t>
            </a:r>
          </a:p>
        </p:txBody>
      </p:sp>
      <p:pic>
        <p:nvPicPr>
          <p:cNvPr id="19462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26762">
            <a:off x="1901220" y="2638482"/>
            <a:ext cx="855973" cy="1488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463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2" y="798295"/>
            <a:ext cx="986561" cy="1252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465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2092" y="1874982"/>
            <a:ext cx="989715" cy="1487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1852" y="1227849"/>
            <a:ext cx="1871663" cy="1658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464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7767" y="2272721"/>
            <a:ext cx="2054225" cy="205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467" name="Picture 1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799" y="2346725"/>
            <a:ext cx="2011363" cy="1951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368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" dur="1750"/>
                                        <p:tgtEl>
                                          <p:spTgt spid="194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750"/>
                                        <p:tgtEl>
                                          <p:spTgt spid="194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750"/>
                                        <p:tgtEl>
                                          <p:spTgt spid="194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0" fill="hold"/>
                                        <p:tgtEl>
                                          <p:spTgt spid="194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0" fill="hold"/>
                                        <p:tgtEl>
                                          <p:spTgt spid="194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0" fill="hold"/>
                                        <p:tgtEl>
                                          <p:spTgt spid="1946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0"/>
                                        <p:tgtEl>
                                          <p:spTgt spid="194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0" fill="hold"/>
                                        <p:tgtEl>
                                          <p:spTgt spid="194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0" fill="hold"/>
                                        <p:tgtEl>
                                          <p:spTgt spid="194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0" fill="hold"/>
                                        <p:tgtEl>
                                          <p:spTgt spid="1946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0"/>
                                        <p:tgtEl>
                                          <p:spTgt spid="194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1745" y="2572461"/>
            <a:ext cx="4436321" cy="809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08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6730" y="1254992"/>
            <a:ext cx="4772805" cy="776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174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60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60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60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60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60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6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4560" y="412843"/>
            <a:ext cx="6057081" cy="1334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710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9533" y="1980261"/>
            <a:ext cx="4662711" cy="1041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7108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1746" y="3144135"/>
            <a:ext cx="4662711" cy="1046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22088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7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7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9"/>
          <p:cNvSpPr txBox="1">
            <a:spLocks noChangeArrowheads="1"/>
          </p:cNvSpPr>
          <p:nvPr/>
        </p:nvSpPr>
        <p:spPr bwMode="auto">
          <a:xfrm>
            <a:off x="603559" y="1797958"/>
            <a:ext cx="8154476" cy="164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61265" tIns="80635" rIns="161265" bIns="80635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146767">
              <a:lnSpc>
                <a:spcPct val="150000"/>
              </a:lnSpc>
            </a:pPr>
            <a:r>
              <a:rPr lang="zh-CN" altLang="en-US" sz="3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将图书馆内容与微信社交融合起来</a:t>
            </a:r>
            <a:endParaRPr lang="en-US" altLang="zh-CN" sz="3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1146767">
              <a:lnSpc>
                <a:spcPct val="150000"/>
              </a:lnSpc>
            </a:pPr>
            <a:r>
              <a:rPr lang="zh-CN" altLang="en-US" sz="3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让每个机构、每个人都拥有自己的知识空间</a:t>
            </a:r>
            <a:endParaRPr lang="en-US" altLang="zh-CN" sz="3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3536886" y="846238"/>
            <a:ext cx="2478629" cy="777651"/>
          </a:xfrm>
          <a:prstGeom prst="rect">
            <a:avLst/>
          </a:prstGeom>
        </p:spPr>
        <p:txBody>
          <a:bodyPr wrap="none" lIns="84329" tIns="42165" rIns="84329" bIns="42165">
            <a:spAutoFit/>
          </a:bodyPr>
          <a:lstStyle/>
          <a:p>
            <a:pPr defTabSz="1146767"/>
            <a:r>
              <a:rPr lang="zh-CN" altLang="en-US" sz="45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设思路</a:t>
            </a:r>
            <a:endParaRPr lang="en-US" altLang="zh-CN" sz="4500" b="1" dirty="0">
              <a:solidFill>
                <a:srgbClr val="FFFF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73850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1000" contras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6885" y="2301721"/>
            <a:ext cx="1824774" cy="10305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1128" y="1401621"/>
            <a:ext cx="1994518" cy="1006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48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1347" y="1395794"/>
            <a:ext cx="1800637" cy="1085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" name="下箭头 54"/>
          <p:cNvSpPr/>
          <p:nvPr/>
        </p:nvSpPr>
        <p:spPr>
          <a:xfrm>
            <a:off x="4451111" y="3486151"/>
            <a:ext cx="203206" cy="328613"/>
          </a:xfrm>
          <a:prstGeom prst="downArrow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9" name="形状 58"/>
          <p:cNvSpPr/>
          <p:nvPr/>
        </p:nvSpPr>
        <p:spPr>
          <a:xfrm>
            <a:off x="1871701" y="1176595"/>
            <a:ext cx="5310590" cy="2309557"/>
          </a:xfrm>
          <a:prstGeom prst="funnel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" name="矩形 8"/>
          <p:cNvSpPr/>
          <p:nvPr/>
        </p:nvSpPr>
        <p:spPr>
          <a:xfrm>
            <a:off x="1881015" y="146505"/>
            <a:ext cx="5838523" cy="608374"/>
          </a:xfrm>
          <a:prstGeom prst="rect">
            <a:avLst/>
          </a:prstGeom>
        </p:spPr>
        <p:txBody>
          <a:bodyPr wrap="none" lIns="84329" tIns="42165" rIns="84329" bIns="42165">
            <a:spAutoFit/>
          </a:bodyPr>
          <a:lstStyle/>
          <a:p>
            <a:pPr defTabSz="1146767"/>
            <a:r>
              <a:rPr lang="zh-CN" altLang="en-US" sz="34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书馆知识服务空间系统模型</a:t>
            </a:r>
            <a:endParaRPr lang="en-US" altLang="zh-CN" sz="3400" b="1" dirty="0">
              <a:solidFill>
                <a:srgbClr val="FFFF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109449" y="3898601"/>
            <a:ext cx="3105127" cy="1176740"/>
          </a:xfrm>
          <a:prstGeom prst="rect">
            <a:avLst/>
          </a:prstGeom>
          <a:noFill/>
        </p:spPr>
        <p:txBody>
          <a:bodyPr wrap="square" lIns="129040" tIns="64520" rIns="129040" bIns="64520" rtlCol="0">
            <a:spAutoFit/>
          </a:bodyPr>
          <a:lstStyle/>
          <a:p>
            <a:pPr algn="ctr"/>
            <a:r>
              <a:rPr lang="en-US" altLang="zh-CN" sz="3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C</a:t>
            </a:r>
            <a:r>
              <a:rPr lang="zh-CN" altLang="en-US" sz="3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端</a:t>
            </a:r>
            <a:endParaRPr lang="en-US" altLang="zh-CN" sz="3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3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客户端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922158" y="2746935"/>
            <a:ext cx="3105127" cy="561187"/>
          </a:xfrm>
          <a:prstGeom prst="rect">
            <a:avLst/>
          </a:prstGeom>
          <a:noFill/>
        </p:spPr>
        <p:txBody>
          <a:bodyPr wrap="square" lIns="129040" tIns="64520" rIns="129040" bIns="64520" rtlCol="0">
            <a:spAutoFit/>
          </a:bodyPr>
          <a:lstStyle/>
          <a:p>
            <a:pPr algn="ctr"/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知识空间</a:t>
            </a:r>
          </a:p>
        </p:txBody>
      </p:sp>
    </p:spTree>
    <p:extLst>
      <p:ext uri="{BB962C8B-B14F-4D97-AF65-F5344CB8AC3E}">
        <p14:creationId xmlns:p14="http://schemas.microsoft.com/office/powerpoint/2010/main" val="290163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4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4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7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" grpId="0"/>
      <p:bldP spid="1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774" y="1626646"/>
            <a:ext cx="8399703" cy="17551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66557" y="591531"/>
            <a:ext cx="2115235" cy="684298"/>
          </a:xfrm>
          <a:prstGeom prst="rect">
            <a:avLst/>
          </a:prstGeom>
          <a:noFill/>
        </p:spPr>
        <p:txBody>
          <a:bodyPr wrap="square" lIns="129040" tIns="64520" rIns="129040" bIns="64520" rtlCol="0">
            <a:spAutoFit/>
          </a:bodyPr>
          <a:lstStyle/>
          <a:p>
            <a:pPr algn="ctr"/>
            <a:r>
              <a:rPr lang="zh-CN" altLang="en-US" sz="36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设愿景</a:t>
            </a:r>
          </a:p>
        </p:txBody>
      </p:sp>
    </p:spTree>
    <p:extLst>
      <p:ext uri="{BB962C8B-B14F-4D97-AF65-F5344CB8AC3E}">
        <p14:creationId xmlns:p14="http://schemas.microsoft.com/office/powerpoint/2010/main" val="313082922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矩形 1"/>
          <p:cNvSpPr>
            <a:spLocks noChangeArrowheads="1"/>
          </p:cNvSpPr>
          <p:nvPr/>
        </p:nvSpPr>
        <p:spPr bwMode="auto">
          <a:xfrm>
            <a:off x="701570" y="1575746"/>
            <a:ext cx="8192910" cy="2346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None/>
            </a:pPr>
            <a:r>
              <a:rPr lang="zh-CN" altLang="en-US" sz="4800" dirty="0"/>
              <a:t>三、</a:t>
            </a:r>
            <a:r>
              <a:rPr lang="zh-CN" altLang="en-US" sz="4800" dirty="0" smtClean="0"/>
              <a:t>基于空间的知识服务创新</a:t>
            </a:r>
            <a:endParaRPr lang="zh-CN" altLang="en-US" sz="4800" dirty="0"/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endParaRPr lang="zh-CN" altLang="en-US" sz="4800" dirty="0"/>
          </a:p>
        </p:txBody>
      </p:sp>
    </p:spTree>
    <p:extLst>
      <p:ext uri="{BB962C8B-B14F-4D97-AF65-F5344CB8AC3E}">
        <p14:creationId xmlns:p14="http://schemas.microsoft.com/office/powerpoint/2010/main" val="2296581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6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57767" y="1446627"/>
            <a:ext cx="3409288" cy="6300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57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62386" y="2011726"/>
            <a:ext cx="4627771" cy="6604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58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54726" y="2596830"/>
            <a:ext cx="4935468" cy="6300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59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62386" y="3137529"/>
            <a:ext cx="4627771" cy="6300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60" name="Picture 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62386" y="3651870"/>
            <a:ext cx="4627771" cy="6300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61" name="Picture 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46677" y="4108843"/>
            <a:ext cx="12486365" cy="7131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文本框 9"/>
          <p:cNvSpPr txBox="1">
            <a:spLocks noChangeArrowheads="1"/>
          </p:cNvSpPr>
          <p:nvPr/>
        </p:nvSpPr>
        <p:spPr bwMode="auto">
          <a:xfrm>
            <a:off x="488218" y="266553"/>
            <a:ext cx="8314253" cy="1726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6767" tIns="123385" rIns="246767" bIns="123385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defTabSz="1754768"/>
            <a:r>
              <a:rPr lang="zh-CN" altLang="en-US" sz="32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zh-CN" altLang="en-US" sz="3200" b="1" dirty="0" smtClean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基于</a:t>
            </a:r>
            <a:r>
              <a:rPr lang="zh-CN" altLang="en-US" sz="32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社交空间的知识传播与分享方式， 将开辟全新的服务方式，大大提升图书馆资源的使用率</a:t>
            </a:r>
          </a:p>
        </p:txBody>
      </p:sp>
    </p:spTree>
    <p:extLst>
      <p:ext uri="{BB962C8B-B14F-4D97-AF65-F5344CB8AC3E}">
        <p14:creationId xmlns:p14="http://schemas.microsoft.com/office/powerpoint/2010/main" val="1979188836"/>
      </p:ext>
    </p:extLst>
  </p:cSld>
  <p:clrMapOvr>
    <a:masterClrMapping/>
  </p:clrMapOvr>
  <p:transition spd="med">
    <p:wheel spokes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49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750"/>
                                        <p:tgtEl>
                                          <p:spTgt spid="49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750"/>
                                        <p:tgtEl>
                                          <p:spTgt spid="49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750"/>
                                        <p:tgtEl>
                                          <p:spTgt spid="49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750"/>
                                        <p:tgtEl>
                                          <p:spTgt spid="49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750"/>
                                        <p:tgtEl>
                                          <p:spTgt spid="49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>
            <a:spLocks noChangeArrowheads="1"/>
          </p:cNvSpPr>
          <p:nvPr/>
        </p:nvSpPr>
        <p:spPr bwMode="auto">
          <a:xfrm>
            <a:off x="926595" y="1308709"/>
            <a:ext cx="8350122" cy="3361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9027" tIns="64514" rIns="129027" bIns="64514">
            <a:spAutoFit/>
          </a:bodyPr>
          <a:lstStyle/>
          <a:p>
            <a:pPr marL="1066867">
              <a:lnSpc>
                <a:spcPct val="150000"/>
              </a:lnSpc>
            </a:pPr>
            <a:r>
              <a:rPr lang="zh-CN" altLang="en-US" sz="28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期刊域出版（一刊一专题）</a:t>
            </a:r>
            <a:endParaRPr lang="en-US" altLang="zh-CN" sz="2800" b="1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  <a:p>
            <a:pPr marL="1066867">
              <a:lnSpc>
                <a:spcPct val="150000"/>
              </a:lnSpc>
            </a:pPr>
            <a:r>
              <a:rPr lang="zh-CN" altLang="en-US" sz="28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人物成果库专题群（一师一专题）</a:t>
            </a:r>
            <a:endParaRPr lang="en-US" altLang="zh-CN" sz="2800" b="1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  <a:p>
            <a:pPr marL="1066867">
              <a:lnSpc>
                <a:spcPct val="150000"/>
              </a:lnSpc>
            </a:pPr>
            <a:r>
              <a:rPr lang="zh-CN" altLang="en-US" sz="28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机构库专题群（一系、一院、一校一专题）</a:t>
            </a:r>
            <a:endParaRPr lang="en-US" altLang="zh-CN" sz="2800" b="1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  <a:p>
            <a:pPr marL="1066867">
              <a:lnSpc>
                <a:spcPct val="150000"/>
              </a:lnSpc>
            </a:pPr>
            <a:r>
              <a:rPr lang="zh-CN" altLang="en-US" sz="28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特色专题库群（一科一专题）</a:t>
            </a:r>
            <a:endParaRPr lang="en-US" altLang="zh-CN" sz="2800" b="1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  <a:p>
            <a:pPr marL="1066867">
              <a:lnSpc>
                <a:spcPct val="150000"/>
              </a:lnSpc>
            </a:pPr>
            <a:r>
              <a:rPr lang="zh-CN" altLang="en-US" sz="28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我的资料袋（一人一专题）</a:t>
            </a:r>
            <a:endParaRPr lang="en-US" altLang="zh-CN" sz="2800" b="1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296526" y="231491"/>
            <a:ext cx="8182641" cy="1238296"/>
          </a:xfrm>
          <a:prstGeom prst="rect">
            <a:avLst/>
          </a:prstGeom>
        </p:spPr>
        <p:txBody>
          <a:bodyPr wrap="none" lIns="129040" tIns="64520" rIns="129040" bIns="6452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3600" b="1" dirty="0">
                <a:solidFill>
                  <a:srgbClr val="FFFF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开放的知识管理空间</a:t>
            </a:r>
            <a:r>
              <a:rPr lang="en-US" altLang="zh-CN" sz="3600" b="1" dirty="0">
                <a:solidFill>
                  <a:srgbClr val="FFFF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——</a:t>
            </a:r>
            <a:r>
              <a:rPr lang="zh-CN" altLang="en-US" sz="3600" b="1" dirty="0">
                <a:solidFill>
                  <a:srgbClr val="FFFF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专题服务平台</a:t>
            </a:r>
            <a:endParaRPr lang="en-US" altLang="zh-CN" sz="3600" b="1" dirty="0">
              <a:solidFill>
                <a:srgbClr val="FFFF00"/>
              </a:solidFill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090976"/>
      </p:ext>
    </p:extLst>
  </p:cSld>
  <p:clrMapOvr>
    <a:masterClrMapping/>
  </p:clrMapOvr>
  <p:transition spd="med">
    <p:wheel spokes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9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250"/>
                            </p:stCondLst>
                            <p:childTnLst>
                              <p:par>
                                <p:cTn id="15" presetID="2" presetClass="entr" presetSubtype="9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500"/>
                            </p:stCondLst>
                            <p:childTnLst>
                              <p:par>
                                <p:cTn id="20" presetID="2" presetClass="entr" presetSubtype="9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750"/>
                            </p:stCondLst>
                            <p:childTnLst>
                              <p:par>
                                <p:cTn id="25" presetID="2" presetClass="entr" presetSubtype="9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矩形 1"/>
          <p:cNvSpPr>
            <a:spLocks noChangeArrowheads="1"/>
          </p:cNvSpPr>
          <p:nvPr/>
        </p:nvSpPr>
        <p:spPr bwMode="auto">
          <a:xfrm>
            <a:off x="701570" y="1597912"/>
            <a:ext cx="8192910" cy="1238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4800" dirty="0" smtClean="0">
                <a:solidFill>
                  <a:srgbClr val="FFFF00"/>
                </a:solidFill>
              </a:rPr>
              <a:t>全新的信息素养教育</a:t>
            </a:r>
            <a:endParaRPr lang="zh-CN" altLang="en-US" sz="48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492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053474" y="951571"/>
            <a:ext cx="5310590" cy="622743"/>
          </a:xfrm>
          <a:prstGeom prst="rect">
            <a:avLst/>
          </a:prstGeom>
          <a:noFill/>
        </p:spPr>
        <p:txBody>
          <a:bodyPr wrap="square" lIns="129040" tIns="64520" rIns="129040" bIns="64520" rtlCol="0">
            <a:spAutoFit/>
          </a:bodyPr>
          <a:lstStyle/>
          <a:p>
            <a:pPr algn="ctr"/>
            <a:r>
              <a:rPr lang="zh-CN" altLang="en-US" sz="32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书馆发展的两大核心问题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010494" y="2121075"/>
            <a:ext cx="3151614" cy="561187"/>
          </a:xfrm>
          <a:prstGeom prst="rect">
            <a:avLst/>
          </a:prstGeom>
          <a:noFill/>
        </p:spPr>
        <p:txBody>
          <a:bodyPr wrap="square" lIns="129040" tIns="64520" rIns="129040" bIns="64520" rtlCol="0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如何获得阅读资源？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010495" y="3054868"/>
            <a:ext cx="3285365" cy="561187"/>
          </a:xfrm>
          <a:prstGeom prst="rect">
            <a:avLst/>
          </a:prstGeom>
          <a:noFill/>
        </p:spPr>
        <p:txBody>
          <a:bodyPr wrap="square" lIns="129040" tIns="64520" rIns="129040" bIns="64520" rtlCol="0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如何把资源用起来？</a:t>
            </a:r>
          </a:p>
        </p:txBody>
      </p:sp>
    </p:spTree>
    <p:extLst>
      <p:ext uri="{BB962C8B-B14F-4D97-AF65-F5344CB8AC3E}">
        <p14:creationId xmlns:p14="http://schemas.microsoft.com/office/powerpoint/2010/main" val="60314585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407025" y="1898650"/>
            <a:ext cx="3430588" cy="1662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040" tIns="64520" rIns="129040" bIns="64520" anchor="ctr"/>
          <a:lstStyle>
            <a:lvl1pPr algn="just">
              <a:spcBef>
                <a:spcPts val="75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1pPr>
            <a:lvl2pPr marL="742950" indent="-285750" algn="just">
              <a:spcBef>
                <a:spcPts val="375"/>
              </a:spcBef>
              <a:buFont typeface="Arial" pitchFamily="34" charset="0"/>
              <a:buChar char="•"/>
              <a:defRPr sz="15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2pPr>
            <a:lvl3pPr marL="11430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3pPr>
            <a:lvl4pPr marL="16002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4pPr>
            <a:lvl5pPr marL="20574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5pPr>
            <a:lvl6pPr marL="25146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6pPr>
            <a:lvl7pPr marL="29718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7pPr>
            <a:lvl8pPr marL="34290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8pPr>
            <a:lvl9pPr marL="38862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2400" b="1" dirty="0">
                <a:solidFill>
                  <a:srgbClr val="FFFFFF"/>
                </a:solidFill>
                <a:sym typeface="+mn-ea"/>
              </a:rPr>
              <a:t>华中科技大学图书馆</a:t>
            </a:r>
            <a:endParaRPr lang="en-US" altLang="zh-CN" sz="2400" b="1" dirty="0">
              <a:solidFill>
                <a:srgbClr val="FFFFFF"/>
              </a:solidFill>
              <a:sym typeface="+mn-ea"/>
            </a:endParaRPr>
          </a:p>
          <a:p>
            <a:pPr algn="ctr" eaLnBrk="1" hangingPunct="1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2400" b="1" dirty="0">
                <a:solidFill>
                  <a:srgbClr val="FFFFFF"/>
                </a:solidFill>
                <a:sym typeface="+mn-ea"/>
              </a:rPr>
              <a:t>新生入馆指南</a:t>
            </a:r>
          </a:p>
        </p:txBody>
      </p:sp>
      <p:sp>
        <p:nvSpPr>
          <p:cNvPr id="13" name="矩形 12"/>
          <p:cNvSpPr/>
          <p:nvPr>
            <p:custDataLst>
              <p:tags r:id="rId3"/>
            </p:custDataLst>
          </p:nvPr>
        </p:nvSpPr>
        <p:spPr>
          <a:xfrm flipH="1">
            <a:off x="5451475" y="2284413"/>
            <a:ext cx="38100" cy="731837"/>
          </a:xfrm>
          <a:prstGeom prst="rect">
            <a:avLst/>
          </a:prstGeom>
          <a:solidFill>
            <a:schemeClr val="accent1">
              <a:lumMod val="20000"/>
              <a:lumOff val="8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9040" tIns="64520" rIns="129040" bIns="64520" anchor="ctr"/>
          <a:lstStyle/>
          <a:p>
            <a:pPr algn="ctr">
              <a:defRPr/>
            </a:pPr>
            <a:endParaRPr lang="zh-CN" altLang="en-US" sz="1700">
              <a:solidFill>
                <a:srgbClr val="000000"/>
              </a:solidFill>
              <a:latin typeface="Arial Unicode MS" pitchFamily="34" charset="-122"/>
              <a:ea typeface="Arial Unicode MS" pitchFamily="34" charset="-122"/>
              <a:cs typeface="Arial Unicode MS" pitchFamily="34" charset="-122"/>
            </a:endParaRPr>
          </a:p>
        </p:txBody>
      </p:sp>
      <p:pic>
        <p:nvPicPr>
          <p:cNvPr id="5" name="图片 4" descr="360截图2016040615301694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13" y="960441"/>
            <a:ext cx="5024437" cy="3950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204" y="960440"/>
            <a:ext cx="2181225" cy="3736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矩形标注 8"/>
          <p:cNvSpPr/>
          <p:nvPr/>
        </p:nvSpPr>
        <p:spPr>
          <a:xfrm>
            <a:off x="3840163" y="1046164"/>
            <a:ext cx="823912" cy="400052"/>
          </a:xfrm>
          <a:prstGeom prst="wedgeRectCallout">
            <a:avLst>
              <a:gd name="adj1" fmla="val -20833"/>
              <a:gd name="adj2" fmla="val 7964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9040" tIns="64520" rIns="129040" bIns="64520" anchor="ctr"/>
          <a:lstStyle/>
          <a:p>
            <a:pPr algn="ctr">
              <a:defRPr/>
            </a:pPr>
            <a:r>
              <a:rPr lang="en-US" altLang="zh-CN" b="1">
                <a:solidFill>
                  <a:srgbClr val="000000"/>
                </a:solidFill>
              </a:rPr>
              <a:t>PC</a:t>
            </a:r>
            <a:r>
              <a:rPr lang="zh-CN" altLang="en-US" b="1">
                <a:solidFill>
                  <a:srgbClr val="000000"/>
                </a:solidFill>
              </a:rPr>
              <a:t>端</a:t>
            </a:r>
          </a:p>
        </p:txBody>
      </p:sp>
      <p:sp>
        <p:nvSpPr>
          <p:cNvPr id="23" name="矩形标注 22"/>
          <p:cNvSpPr/>
          <p:nvPr/>
        </p:nvSpPr>
        <p:spPr>
          <a:xfrm>
            <a:off x="2182816" y="1046164"/>
            <a:ext cx="1044575" cy="400052"/>
          </a:xfrm>
          <a:prstGeom prst="wedgeRectCallout">
            <a:avLst>
              <a:gd name="adj1" fmla="val -20833"/>
              <a:gd name="adj2" fmla="val 79642"/>
            </a:avLst>
          </a:prstGeom>
          <a:solidFill>
            <a:srgbClr val="E3DE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9040" tIns="64520" rIns="129040" bIns="64520" anchor="ctr"/>
          <a:lstStyle/>
          <a:p>
            <a:pPr algn="ctr">
              <a:defRPr/>
            </a:pPr>
            <a:r>
              <a:rPr lang="zh-CN" altLang="en-US" b="1" dirty="0">
                <a:solidFill>
                  <a:srgbClr val="000000"/>
                </a:solidFill>
              </a:rPr>
              <a:t>移动端</a:t>
            </a: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252414" y="141482"/>
            <a:ext cx="4096455" cy="700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marL="645201" indent="-645201" algn="l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sz="2800" dirty="0">
                <a:solidFill>
                  <a:srgbClr val="FFFF00"/>
                </a:solidFill>
              </a:rPr>
              <a:t>入馆教育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70030466"/>
      </p:ext>
    </p:extLst>
  </p:cSld>
  <p:clrMapOvr>
    <a:masterClrMapping/>
  </p:clrMapOvr>
  <p:transition spd="med">
    <p:wheel spokes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 animBg="1"/>
      <p:bldP spid="23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文本框 10"/>
          <p:cNvSpPr txBox="1">
            <a:spLocks noChangeArrowheads="1"/>
          </p:cNvSpPr>
          <p:nvPr/>
        </p:nvSpPr>
        <p:spPr bwMode="auto">
          <a:xfrm>
            <a:off x="7182290" y="53094"/>
            <a:ext cx="2063979" cy="56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9040" tIns="64520" rIns="129040" bIns="64520">
            <a:spAutoFit/>
          </a:bodyPr>
          <a:lstStyle>
            <a:lvl1pPr algn="just">
              <a:spcBef>
                <a:spcPts val="75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1pPr>
            <a:lvl2pPr marL="742950" indent="-285750" algn="just">
              <a:spcBef>
                <a:spcPts val="375"/>
              </a:spcBef>
              <a:buFont typeface="Arial" pitchFamily="34" charset="0"/>
              <a:buChar char="•"/>
              <a:defRPr sz="15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2pPr>
            <a:lvl3pPr marL="11430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3pPr>
            <a:lvl4pPr marL="16002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4pPr>
            <a:lvl5pPr marL="20574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5pPr>
            <a:lvl6pPr marL="25146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6pPr>
            <a:lvl7pPr marL="29718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7pPr>
            <a:lvl8pPr marL="34290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8pPr>
            <a:lvl9pPr marL="38862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9pPr>
          </a:lstStyle>
          <a:p>
            <a:pPr algn="l" eaLnBrk="1" hangingPunct="1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2800" b="1" dirty="0">
                <a:solidFill>
                  <a:srgbClr val="FFFF00"/>
                </a:solidFill>
                <a:sym typeface="+mn-ea"/>
              </a:rPr>
              <a:t>初识图书馆</a:t>
            </a:r>
            <a:endParaRPr lang="zh-CN" altLang="en-US" sz="2800" b="1" dirty="0">
              <a:solidFill>
                <a:srgbClr val="FFFF00"/>
              </a:solidFill>
            </a:endParaRPr>
          </a:p>
        </p:txBody>
      </p:sp>
      <p:pic>
        <p:nvPicPr>
          <p:cNvPr id="3" name="图片 2" descr="Screenshot_2016-04-07-15-04-12_com.chaoxing.mobil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9100" y="167230"/>
            <a:ext cx="2063750" cy="3671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图片 9" descr="Screenshot_2016-04-07-10-01-15_com.chaoxing.mobil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2054" y="516480"/>
            <a:ext cx="1990725" cy="354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图片 11" descr="Screenshot_2016-04-07-15-15-51_com.chaoxing.mobil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750" y="222793"/>
            <a:ext cx="1930400" cy="3433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图片 13" descr="Screenshot_2016-04-06-15-46-40_com.chaoxing.mobil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79" y="478381"/>
            <a:ext cx="1922463" cy="3416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图片 1" descr="Screenshot_2016-04-07-15-03-49_com.chaoxing.mobil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3489" y="754606"/>
            <a:ext cx="2057400" cy="3659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矩形标注 5"/>
          <p:cNvSpPr/>
          <p:nvPr/>
        </p:nvSpPr>
        <p:spPr>
          <a:xfrm>
            <a:off x="-9137" y="3640681"/>
            <a:ext cx="3416300" cy="976313"/>
          </a:xfrm>
          <a:prstGeom prst="wedgeRectCallout">
            <a:avLst>
              <a:gd name="adj1" fmla="val -16023"/>
              <a:gd name="adj2" fmla="val -49249"/>
            </a:avLst>
          </a:prstGeom>
          <a:solidFill>
            <a:schemeClr val="accent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9040" tIns="64520" rIns="129040" bIns="64520" anchor="ctr"/>
          <a:lstStyle/>
          <a:p>
            <a:pPr algn="ctr">
              <a:defRPr/>
            </a:pPr>
            <a:r>
              <a:rPr lang="zh-CN" altLang="en-US" sz="2300" b="1" dirty="0">
                <a:solidFill>
                  <a:srgbClr val="000000"/>
                </a:solidFill>
              </a:rPr>
              <a:t>以视频模式介绍图书馆基本情况</a:t>
            </a:r>
          </a:p>
        </p:txBody>
      </p:sp>
      <p:pic>
        <p:nvPicPr>
          <p:cNvPr id="8" name="图片 7" descr="Screenshot_2016-04-07-15-05-55_com.chaoxing.mobil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2813" y="840330"/>
            <a:ext cx="1974850" cy="3513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矩形标注 8"/>
          <p:cNvSpPr/>
          <p:nvPr/>
        </p:nvSpPr>
        <p:spPr>
          <a:xfrm>
            <a:off x="4912113" y="3618456"/>
            <a:ext cx="4221162" cy="976313"/>
          </a:xfrm>
          <a:prstGeom prst="wedgeRectCallout">
            <a:avLst>
              <a:gd name="adj1" fmla="val -16023"/>
              <a:gd name="adj2" fmla="val -49249"/>
            </a:avLst>
          </a:prstGeom>
          <a:solidFill>
            <a:schemeClr val="accent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9040" tIns="64520" rIns="129040" bIns="64520" anchor="ctr"/>
          <a:lstStyle/>
          <a:p>
            <a:pPr algn="ctr">
              <a:defRPr/>
            </a:pPr>
            <a:r>
              <a:rPr lang="zh-CN" altLang="en-US" sz="2300" b="1" dirty="0">
                <a:solidFill>
                  <a:srgbClr val="000000"/>
                </a:solidFill>
              </a:rPr>
              <a:t>即时通告服务、活动动态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4439466"/>
      </p:ext>
    </p:extLst>
  </p:cSld>
  <p:clrMapOvr>
    <a:masterClrMapping/>
  </p:clrMapOvr>
  <p:transition spd="med">
    <p:wheel spokes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withGroup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withGroup">
                            <p:stCondLst>
                              <p:cond delay="15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withGroup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withGroup">
                            <p:stCondLst>
                              <p:cond delay="2500"/>
                            </p:stCondLst>
                            <p:childTnLst>
                              <p:par>
                                <p:cTn id="26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 nodeType="withGroup">
                            <p:stCondLst>
                              <p:cond delay="3750"/>
                            </p:stCondLst>
                            <p:childTnLst>
                              <p:par>
                                <p:cTn id="3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 nodeType="withGroup">
                            <p:stCondLst>
                              <p:cond delay="4500"/>
                            </p:stCondLst>
                            <p:childTnLst>
                              <p:par>
                                <p:cTn id="3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 nodeType="withGroup">
                            <p:stCondLst>
                              <p:cond delay="5250"/>
                            </p:stCondLst>
                            <p:childTnLst>
                              <p:par>
                                <p:cTn id="4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bldLvl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文本框 10"/>
          <p:cNvSpPr txBox="1">
            <a:spLocks noChangeArrowheads="1"/>
          </p:cNvSpPr>
          <p:nvPr/>
        </p:nvSpPr>
        <p:spPr bwMode="auto">
          <a:xfrm>
            <a:off x="7374776" y="19425"/>
            <a:ext cx="1703303" cy="56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9040" tIns="64520" rIns="129040" bIns="64520">
            <a:spAutoFit/>
          </a:bodyPr>
          <a:lstStyle>
            <a:lvl1pPr algn="just">
              <a:spcBef>
                <a:spcPts val="75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1pPr>
            <a:lvl2pPr marL="742950" indent="-285750" algn="just">
              <a:spcBef>
                <a:spcPts val="375"/>
              </a:spcBef>
              <a:buFont typeface="Arial" pitchFamily="34" charset="0"/>
              <a:buChar char="•"/>
              <a:defRPr sz="15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2pPr>
            <a:lvl3pPr marL="11430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3pPr>
            <a:lvl4pPr marL="16002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4pPr>
            <a:lvl5pPr marL="20574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5pPr>
            <a:lvl6pPr marL="25146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6pPr>
            <a:lvl7pPr marL="29718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7pPr>
            <a:lvl8pPr marL="34290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8pPr>
            <a:lvl9pPr marL="38862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9pPr>
          </a:lstStyle>
          <a:p>
            <a:pPr algn="l" eaLnBrk="1" hangingPunct="1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2800" b="1" dirty="0">
                <a:solidFill>
                  <a:srgbClr val="FFFF00"/>
                </a:solidFill>
              </a:rPr>
              <a:t>借阅指南</a:t>
            </a:r>
          </a:p>
        </p:txBody>
      </p:sp>
      <p:pic>
        <p:nvPicPr>
          <p:cNvPr id="9" name="图片 8" descr="Screenshot_2016-04-07-10-28-44_com.chaoxing.mobil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88" y="792164"/>
            <a:ext cx="2290762" cy="407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图片 11" descr="Screenshot_2016-04-07-10-29-30_com.chaoxing.mobil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975" y="808040"/>
            <a:ext cx="2293938" cy="4078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图片 7" descr="Screenshot_2016-04-07-10-28-57_com.chaoxing.mobil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13" y="792164"/>
            <a:ext cx="2290762" cy="407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图片 18" descr="Screenshot_2016-04-07-10-30-25_com.chaoxing.mobil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9725" y="790577"/>
            <a:ext cx="2317750" cy="412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图片 19" descr="Screenshot_2016-04-07-10-31-50_com.chaoxing.mobil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6138" y="784227"/>
            <a:ext cx="2290762" cy="407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图片 20" descr="Screenshot_2016-04-07-11-35-49_com.chaoxing.mobil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0913" y="819151"/>
            <a:ext cx="2259012" cy="401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图片 21" descr="Screenshot_2016-04-07-11-36-09_com.chaoxing.mobil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9403" y="828675"/>
            <a:ext cx="2257425" cy="401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图片 22" descr="Screenshot_2016-04-07-11-36-31_com.chaoxing.mobil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9003" y="838201"/>
            <a:ext cx="2257425" cy="401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图片 23" descr="Screenshot_2016-04-07-11-37-23_com.chaoxing.mobil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3054" y="836614"/>
            <a:ext cx="2259013" cy="401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文本框 24"/>
          <p:cNvSpPr txBox="1"/>
          <p:nvPr/>
        </p:nvSpPr>
        <p:spPr>
          <a:xfrm>
            <a:off x="550864" y="1171576"/>
            <a:ext cx="1551018" cy="4380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lIns="129040" tIns="64520" rIns="129040" bIns="64520">
            <a:spAutoFit/>
          </a:bodyPr>
          <a:lstStyle/>
          <a:p>
            <a:pPr>
              <a:defRPr/>
            </a:pPr>
            <a:r>
              <a:rPr lang="zh-CN" altLang="en-US" sz="2000" b="1" dirty="0">
                <a:solidFill>
                  <a:srgbClr val="000000"/>
                </a:solidFill>
                <a:latin typeface="Arial"/>
                <a:ea typeface="黑体"/>
              </a:rPr>
              <a:t>借还书流程</a:t>
            </a:r>
          </a:p>
        </p:txBody>
      </p:sp>
      <p:sp>
        <p:nvSpPr>
          <p:cNvPr id="26" name="文本框 25"/>
          <p:cNvSpPr txBox="1"/>
          <p:nvPr/>
        </p:nvSpPr>
        <p:spPr>
          <a:xfrm>
            <a:off x="2419352" y="1595441"/>
            <a:ext cx="1292934" cy="4380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lIns="129040" tIns="64520" rIns="129040" bIns="64520">
            <a:spAutoFit/>
          </a:bodyPr>
          <a:lstStyle/>
          <a:p>
            <a:pPr>
              <a:defRPr/>
            </a:pPr>
            <a:r>
              <a:rPr lang="zh-CN" altLang="en-US" sz="2000" b="1" dirty="0">
                <a:solidFill>
                  <a:srgbClr val="000000"/>
                </a:solidFill>
                <a:latin typeface="Arial"/>
                <a:ea typeface="黑体"/>
              </a:rPr>
              <a:t>排架规则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3784602" y="1087441"/>
            <a:ext cx="1809101" cy="4380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lIns="129040" tIns="64520" rIns="129040" bIns="64520">
            <a:spAutoFit/>
          </a:bodyPr>
          <a:lstStyle/>
          <a:p>
            <a:pPr>
              <a:defRPr/>
            </a:pPr>
            <a:r>
              <a:rPr lang="zh-CN" altLang="en-US" sz="2000" b="1" dirty="0">
                <a:solidFill>
                  <a:srgbClr val="000000"/>
                </a:solidFill>
                <a:latin typeface="Arial"/>
                <a:ea typeface="黑体"/>
              </a:rPr>
              <a:t>图书流通通知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5380041" y="1843089"/>
            <a:ext cx="1809101" cy="4380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lIns="129040" tIns="64520" rIns="129040" bIns="64520">
            <a:spAutoFit/>
          </a:bodyPr>
          <a:lstStyle/>
          <a:p>
            <a:pPr>
              <a:defRPr/>
            </a:pPr>
            <a:r>
              <a:rPr lang="zh-CN" altLang="en-US" sz="2000" b="1" dirty="0">
                <a:solidFill>
                  <a:srgbClr val="000000"/>
                </a:solidFill>
                <a:latin typeface="Arial"/>
                <a:ea typeface="黑体"/>
              </a:rPr>
              <a:t>预约续借荐购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7227296" y="1116016"/>
            <a:ext cx="1581744" cy="74585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lIns="129040" tIns="64520" rIns="129040" bIns="64520">
            <a:spAutoFit/>
          </a:bodyPr>
          <a:lstStyle/>
          <a:p>
            <a:pPr>
              <a:defRPr/>
            </a:pPr>
            <a:r>
              <a:rPr lang="zh-CN" altLang="en-US" sz="2000" b="1" dirty="0">
                <a:solidFill>
                  <a:srgbClr val="000000"/>
                </a:solidFill>
                <a:latin typeface="Arial"/>
                <a:ea typeface="黑体"/>
              </a:rPr>
              <a:t>校园卡在图书馆的应用</a:t>
            </a:r>
          </a:p>
        </p:txBody>
      </p:sp>
      <p:sp>
        <p:nvSpPr>
          <p:cNvPr id="30" name="文本框 29"/>
          <p:cNvSpPr txBox="1">
            <a:spLocks noChangeArrowheads="1"/>
          </p:cNvSpPr>
          <p:nvPr/>
        </p:nvSpPr>
        <p:spPr bwMode="auto">
          <a:xfrm>
            <a:off x="927104" y="2733678"/>
            <a:ext cx="1362075" cy="438077"/>
          </a:xfrm>
          <a:prstGeom prst="rect">
            <a:avLst/>
          </a:prstGeom>
          <a:solidFill>
            <a:srgbClr val="FFFB5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040" tIns="64520" rIns="129040" bIns="64520">
            <a:spAutoFit/>
          </a:bodyPr>
          <a:lstStyle>
            <a:lvl1pPr algn="just">
              <a:spcBef>
                <a:spcPts val="75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1pPr>
            <a:lvl2pPr marL="742950" indent="-285750" algn="just">
              <a:spcBef>
                <a:spcPts val="375"/>
              </a:spcBef>
              <a:buFont typeface="Arial" pitchFamily="34" charset="0"/>
              <a:buChar char="•"/>
              <a:defRPr sz="15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2pPr>
            <a:lvl3pPr marL="11430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3pPr>
            <a:lvl4pPr marL="16002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4pPr>
            <a:lvl5pPr marL="20574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5pPr>
            <a:lvl6pPr marL="25146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6pPr>
            <a:lvl7pPr marL="29718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7pPr>
            <a:lvl8pPr marL="34290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8pPr>
            <a:lvl9pPr marL="38862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9pPr>
          </a:lstStyle>
          <a:p>
            <a:pPr algn="l" eaLnBrk="1" hangingPunct="1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2000" b="1">
                <a:solidFill>
                  <a:srgbClr val="000000"/>
                </a:solidFill>
              </a:rPr>
              <a:t> </a:t>
            </a:r>
            <a:r>
              <a:rPr lang="zh-CN" altLang="en-US" sz="2000" b="1">
                <a:solidFill>
                  <a:srgbClr val="000000"/>
                </a:solidFill>
              </a:rPr>
              <a:t>阅览规则</a:t>
            </a:r>
          </a:p>
        </p:txBody>
      </p:sp>
      <p:sp>
        <p:nvSpPr>
          <p:cNvPr id="31" name="文本框 30"/>
          <p:cNvSpPr txBox="1">
            <a:spLocks noChangeArrowheads="1"/>
          </p:cNvSpPr>
          <p:nvPr/>
        </p:nvSpPr>
        <p:spPr bwMode="auto">
          <a:xfrm>
            <a:off x="2284417" y="3238502"/>
            <a:ext cx="1874837" cy="438077"/>
          </a:xfrm>
          <a:prstGeom prst="rect">
            <a:avLst/>
          </a:prstGeom>
          <a:solidFill>
            <a:srgbClr val="FFFB5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040" tIns="64520" rIns="129040" bIns="64520">
            <a:spAutoFit/>
          </a:bodyPr>
          <a:lstStyle>
            <a:lvl1pPr algn="just">
              <a:spcBef>
                <a:spcPts val="75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1pPr>
            <a:lvl2pPr marL="742950" indent="-285750" algn="just">
              <a:spcBef>
                <a:spcPts val="375"/>
              </a:spcBef>
              <a:buFont typeface="Arial" pitchFamily="34" charset="0"/>
              <a:buChar char="•"/>
              <a:defRPr sz="15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2pPr>
            <a:lvl3pPr marL="11430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3pPr>
            <a:lvl4pPr marL="16002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4pPr>
            <a:lvl5pPr marL="20574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5pPr>
            <a:lvl6pPr marL="25146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6pPr>
            <a:lvl7pPr marL="29718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7pPr>
            <a:lvl8pPr marL="34290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8pPr>
            <a:lvl9pPr marL="38862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9pPr>
          </a:lstStyle>
          <a:p>
            <a:pPr algn="l" eaLnBrk="1" hangingPunct="1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2000" b="1">
                <a:solidFill>
                  <a:srgbClr val="000000"/>
                </a:solidFill>
              </a:rPr>
              <a:t> </a:t>
            </a:r>
            <a:r>
              <a:rPr lang="zh-CN" altLang="en-US" sz="2000" b="1">
                <a:solidFill>
                  <a:srgbClr val="000000"/>
                </a:solidFill>
              </a:rPr>
              <a:t>读者注意事项</a:t>
            </a:r>
          </a:p>
        </p:txBody>
      </p:sp>
      <p:sp>
        <p:nvSpPr>
          <p:cNvPr id="32" name="文本框 31"/>
          <p:cNvSpPr txBox="1">
            <a:spLocks noChangeArrowheads="1"/>
          </p:cNvSpPr>
          <p:nvPr/>
        </p:nvSpPr>
        <p:spPr bwMode="auto">
          <a:xfrm>
            <a:off x="4421188" y="2871791"/>
            <a:ext cx="1509712" cy="745853"/>
          </a:xfrm>
          <a:prstGeom prst="rect">
            <a:avLst/>
          </a:prstGeom>
          <a:solidFill>
            <a:srgbClr val="FFFB5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040" tIns="64520" rIns="129040" bIns="64520">
            <a:spAutoFit/>
          </a:bodyPr>
          <a:lstStyle>
            <a:lvl1pPr algn="just">
              <a:spcBef>
                <a:spcPts val="75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1pPr>
            <a:lvl2pPr marL="742950" indent="-285750" algn="just">
              <a:spcBef>
                <a:spcPts val="375"/>
              </a:spcBef>
              <a:buFont typeface="Arial" pitchFamily="34" charset="0"/>
              <a:buChar char="•"/>
              <a:defRPr sz="15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2pPr>
            <a:lvl3pPr marL="11430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3pPr>
            <a:lvl4pPr marL="16002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4pPr>
            <a:lvl5pPr marL="20574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5pPr>
            <a:lvl6pPr marL="25146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6pPr>
            <a:lvl7pPr marL="29718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7pPr>
            <a:lvl8pPr marL="34290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8pPr>
            <a:lvl9pPr marL="38862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9pPr>
          </a:lstStyle>
          <a:p>
            <a:pPr algn="l" eaLnBrk="1" hangingPunct="1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2000" b="1">
                <a:solidFill>
                  <a:srgbClr val="000000"/>
                </a:solidFill>
              </a:rPr>
              <a:t>微信公众号</a:t>
            </a:r>
          </a:p>
        </p:txBody>
      </p:sp>
      <p:sp>
        <p:nvSpPr>
          <p:cNvPr id="33" name="文本框 32"/>
          <p:cNvSpPr txBox="1">
            <a:spLocks noChangeArrowheads="1"/>
          </p:cNvSpPr>
          <p:nvPr/>
        </p:nvSpPr>
        <p:spPr bwMode="auto">
          <a:xfrm>
            <a:off x="6753225" y="2790826"/>
            <a:ext cx="1543050" cy="438077"/>
          </a:xfrm>
          <a:prstGeom prst="rect">
            <a:avLst/>
          </a:prstGeom>
          <a:solidFill>
            <a:srgbClr val="FFFB5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040" tIns="64520" rIns="129040" bIns="64520">
            <a:spAutoFit/>
          </a:bodyPr>
          <a:lstStyle>
            <a:lvl1pPr algn="just">
              <a:spcBef>
                <a:spcPts val="75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1pPr>
            <a:lvl2pPr marL="742950" indent="-285750" algn="just">
              <a:spcBef>
                <a:spcPts val="375"/>
              </a:spcBef>
              <a:buFont typeface="Arial" pitchFamily="34" charset="0"/>
              <a:buChar char="•"/>
              <a:defRPr sz="15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2pPr>
            <a:lvl3pPr marL="11430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3pPr>
            <a:lvl4pPr marL="16002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4pPr>
            <a:lvl5pPr marL="2057400" indent="-228600" algn="just">
              <a:spcBef>
                <a:spcPts val="375"/>
              </a:spcBef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5pPr>
            <a:lvl6pPr marL="25146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6pPr>
            <a:lvl7pPr marL="29718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7pPr>
            <a:lvl8pPr marL="34290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8pPr>
            <a:lvl9pPr marL="3886200" indent="-228600" algn="just" eaLnBrk="0" fontAlgn="base" hangingPunct="0"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黑体" pitchFamily="49" charset="-122"/>
              </a:defRPr>
            </a:lvl9pPr>
          </a:lstStyle>
          <a:p>
            <a:pPr algn="l" eaLnBrk="1" hangingPunct="1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2000" b="1">
                <a:solidFill>
                  <a:srgbClr val="000000"/>
                </a:solidFill>
              </a:rPr>
              <a:t>移动图书馆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73790904"/>
      </p:ext>
    </p:extLst>
  </p:cSld>
  <p:clrMapOvr>
    <a:masterClrMapping/>
  </p:clrMapOvr>
  <p:transition spd="med">
    <p:wheel spokes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withGroup">
                            <p:stCondLst>
                              <p:cond delay="25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withGroup">
                            <p:stCondLst>
                              <p:cond delay="5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withGroup">
                            <p:stCondLst>
                              <p:cond delay="75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withGroup">
                            <p:stCondLst>
                              <p:cond delay="1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withGroup">
                            <p:stCondLst>
                              <p:cond delay="125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 nodeType="withGroup">
                            <p:stCondLst>
                              <p:cond delay="1500"/>
                            </p:stCondLst>
                            <p:childTnLst>
                              <p:par>
                                <p:cTn id="4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 nodeType="withGroup">
                            <p:stCondLst>
                              <p:cond delay="1750"/>
                            </p:stCondLst>
                            <p:childTnLst>
                              <p:par>
                                <p:cTn id="4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 nodeType="withGroup">
                            <p:stCondLst>
                              <p:cond delay="2000"/>
                            </p:stCondLst>
                            <p:childTnLst>
                              <p:par>
                                <p:cTn id="5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 nodeType="withGroup">
                            <p:stCondLst>
                              <p:cond delay="2250"/>
                            </p:stCondLst>
                            <p:childTnLst>
                              <p:par>
                                <p:cTn id="5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1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2500"/>
                            </p:stCondLst>
                            <p:childTnLst>
                              <p:par>
                                <p:cTn id="6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5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2750"/>
                            </p:stCondLst>
                            <p:childTnLst>
                              <p:par>
                                <p:cTn id="67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9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3000"/>
                            </p:stCondLst>
                            <p:childTnLst>
                              <p:par>
                                <p:cTn id="7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3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3250"/>
                            </p:stCondLst>
                            <p:childTnLst>
                              <p:par>
                                <p:cTn id="7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7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3500"/>
                            </p:stCondLst>
                            <p:childTnLst>
                              <p:par>
                                <p:cTn id="7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3750"/>
                            </p:stCondLst>
                            <p:childTnLst>
                              <p:par>
                                <p:cTn id="8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5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4000"/>
                            </p:stCondLst>
                            <p:childTnLst>
                              <p:par>
                                <p:cTn id="87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9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4250"/>
                            </p:stCondLst>
                            <p:childTnLst>
                              <p:par>
                                <p:cTn id="9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3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1" grpId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252414" y="60529"/>
            <a:ext cx="5534722" cy="776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marL="645201" indent="-645201" algn="l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altLang="zh-CN" sz="2800" dirty="0">
                <a:solidFill>
                  <a:srgbClr val="FFFF00"/>
                </a:solidFill>
              </a:rPr>
              <a:t>《</a:t>
            </a:r>
            <a:r>
              <a:rPr lang="zh-CN" altLang="en-US" sz="2800" dirty="0">
                <a:solidFill>
                  <a:srgbClr val="FFFF00"/>
                </a:solidFill>
              </a:rPr>
              <a:t>信息检索与利用</a:t>
            </a:r>
            <a:r>
              <a:rPr lang="en-US" altLang="zh-CN" sz="2800" dirty="0">
                <a:solidFill>
                  <a:srgbClr val="FFFF00"/>
                </a:solidFill>
              </a:rPr>
              <a:t>》</a:t>
            </a:r>
            <a:r>
              <a:rPr lang="zh-CN" altLang="en-US" sz="2800" dirty="0">
                <a:solidFill>
                  <a:srgbClr val="FFFF00"/>
                </a:solidFill>
              </a:rPr>
              <a:t>专题慕课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5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5" y="831322"/>
            <a:ext cx="6074902" cy="3374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607" y="996576"/>
            <a:ext cx="5380905" cy="3554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4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4000" contrast="3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666" y="1266606"/>
            <a:ext cx="6971309" cy="357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5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22000" contrast="6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112" y="1637422"/>
            <a:ext cx="6084817" cy="3494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6" name="Picture 6"/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33000" contrast="6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1593" y="11997"/>
            <a:ext cx="2612409" cy="5125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46274947"/>
      </p:ext>
    </p:extLst>
  </p:cSld>
  <p:clrMapOvr>
    <a:masterClrMapping/>
  </p:clrMapOvr>
  <p:transition spd="med">
    <p:wheel spokes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4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4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9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04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04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9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4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4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9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04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04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9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04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04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863" y="628912"/>
            <a:ext cx="9229726" cy="451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矩形 1"/>
          <p:cNvSpPr>
            <a:spLocks noChangeArrowheads="1"/>
          </p:cNvSpPr>
          <p:nvPr/>
        </p:nvSpPr>
        <p:spPr bwMode="auto">
          <a:xfrm>
            <a:off x="116505" y="-22834"/>
            <a:ext cx="5534722" cy="618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marL="645201" indent="-645201" algn="l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FFFF00"/>
                </a:solidFill>
              </a:rPr>
              <a:t>读者培训专题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3252666"/>
      </p:ext>
    </p:extLst>
  </p:cSld>
  <p:clrMapOvr>
    <a:masterClrMapping/>
  </p:clrMapOvr>
  <p:transition spd="med">
    <p:wheel spokes="1"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"/>
          <p:cNvSpPr>
            <a:spLocks noChangeArrowheads="1"/>
          </p:cNvSpPr>
          <p:nvPr/>
        </p:nvSpPr>
        <p:spPr bwMode="auto">
          <a:xfrm>
            <a:off x="116505" y="-22834"/>
            <a:ext cx="5534722" cy="700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marL="645201" indent="-645201" algn="l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sz="2800" dirty="0">
                <a:solidFill>
                  <a:srgbClr val="FFFF00"/>
                </a:solidFill>
              </a:rPr>
              <a:t>读者培训专题</a:t>
            </a: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5" y="674397"/>
            <a:ext cx="9136015" cy="4642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20649484"/>
      </p:ext>
    </p:extLst>
  </p:cSld>
  <p:clrMapOvr>
    <a:masterClrMapping/>
  </p:clrMapOvr>
  <p:transition spd="med">
    <p:wheel spokes="1"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"/>
          <p:cNvSpPr>
            <a:spLocks noChangeArrowheads="1"/>
          </p:cNvSpPr>
          <p:nvPr/>
        </p:nvSpPr>
        <p:spPr bwMode="auto">
          <a:xfrm>
            <a:off x="116505" y="-22834"/>
            <a:ext cx="5534722" cy="700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marL="645201" indent="-645201" algn="l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sz="2800" dirty="0">
                <a:solidFill>
                  <a:srgbClr val="FFFF00"/>
                </a:solidFill>
              </a:rPr>
              <a:t>读者培训专题</a:t>
            </a: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14000" contrast="7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2070" y="662697"/>
            <a:ext cx="2475275" cy="4596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35000" contrast="8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6941" y="662697"/>
            <a:ext cx="2655009" cy="4611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圆角矩形 1"/>
          <p:cNvSpPr/>
          <p:nvPr/>
        </p:nvSpPr>
        <p:spPr>
          <a:xfrm>
            <a:off x="1421650" y="3291830"/>
            <a:ext cx="2475275" cy="31503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" name="查找SCI.mp4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656565" y="6465"/>
            <a:ext cx="7967999" cy="52826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32910083"/>
      </p:ext>
    </p:extLst>
  </p:cSld>
  <p:clrMapOvr>
    <a:masterClrMapping/>
  </p:clrMapOvr>
  <p:transition spd="med">
    <p:wheel spokes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6" presetClass="emph" presetSubtype="0" repeatCount="4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3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21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2" fill="hold">
                      <p:stCondLst>
                        <p:cond delay="0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5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26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  <p:bldLst>
      <p:bldP spid="2" grpId="0" animBg="1"/>
      <p:bldP spid="2" grpId="1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234136" y="186486"/>
            <a:ext cx="5534722" cy="700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marL="645201" indent="-645201" algn="l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sz="2800" dirty="0">
                <a:solidFill>
                  <a:srgbClr val="FFFF00"/>
                </a:solidFill>
              </a:rPr>
              <a:t>馆员学习在线专题</a:t>
            </a:r>
          </a:p>
        </p:txBody>
      </p:sp>
      <p:pic>
        <p:nvPicPr>
          <p:cNvPr id="8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204" y="930636"/>
            <a:ext cx="2301596" cy="3872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9000" contrast="7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1811" y="925113"/>
            <a:ext cx="6334071" cy="3878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09961773"/>
      </p:ext>
    </p:extLst>
  </p:cSld>
  <p:clrMapOvr>
    <a:masterClrMapping/>
  </p:clrMapOvr>
  <p:transition spd="med">
    <p:wheel spokes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15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矩形 1"/>
          <p:cNvSpPr>
            <a:spLocks noChangeArrowheads="1"/>
          </p:cNvSpPr>
          <p:nvPr/>
        </p:nvSpPr>
        <p:spPr bwMode="auto">
          <a:xfrm>
            <a:off x="521550" y="1311610"/>
            <a:ext cx="8192910" cy="1515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3600" dirty="0" smtClean="0">
                <a:solidFill>
                  <a:srgbClr val="FFFF00"/>
                </a:solidFill>
              </a:rPr>
              <a:t>学术的积淀与传播</a:t>
            </a:r>
            <a:endParaRPr lang="en-US" altLang="zh-CN" sz="3600" dirty="0" smtClean="0">
              <a:solidFill>
                <a:srgbClr val="FFFF00"/>
              </a:solidFill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zh-CN" sz="2400" dirty="0" smtClean="0"/>
              <a:t>——</a:t>
            </a:r>
            <a:r>
              <a:rPr lang="zh-CN" altLang="en-US" sz="2400" dirty="0" smtClean="0"/>
              <a:t>学者文库与机构库建设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497223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文本框 21"/>
          <p:cNvSpPr txBox="1"/>
          <p:nvPr>
            <p:custDataLst>
              <p:tags r:id="rId2"/>
            </p:custDataLst>
          </p:nvPr>
        </p:nvSpPr>
        <p:spPr>
          <a:xfrm>
            <a:off x="537660" y="17863"/>
            <a:ext cx="7886700" cy="548100"/>
          </a:xfrm>
          <a:prstGeom prst="rect">
            <a:avLst/>
          </a:prstGeom>
        </p:spPr>
        <p:txBody>
          <a:bodyPr vert="horz" lIns="90000" tIns="46800" rIns="90000" bIns="4680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b="1" dirty="0" smtClean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授文库专题</a:t>
            </a:r>
            <a:r>
              <a:rPr lang="en-US" altLang="zh-CN" sz="2400" b="1" dirty="0" smtClean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400" b="1" dirty="0" smtClean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北理工张蕴宏教授文库</a:t>
            </a:r>
            <a:endParaRPr lang="zh-CN" altLang="en-US" sz="2400" b="1" dirty="0">
              <a:solidFill>
                <a:srgbClr val="FFFF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183" y="833275"/>
            <a:ext cx="9494728" cy="4573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99426095"/>
      </p:ext>
    </p:extLst>
  </p:cSld>
  <p:clrMapOvr>
    <a:masterClrMapping/>
  </p:clrMapOvr>
  <p:timing>
    <p:tnLst>
      <p:par>
        <p:cTn id="1" dur="indefinite" restart="never" fill="hold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>
            <a:spLocks noChangeArrowheads="1"/>
          </p:cNvSpPr>
          <p:nvPr/>
        </p:nvSpPr>
        <p:spPr bwMode="auto">
          <a:xfrm>
            <a:off x="2670532" y="3616274"/>
            <a:ext cx="2700436" cy="868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9040" tIns="64520" rIns="129040" bIns="64520"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4800" b="1" dirty="0">
                <a:solidFill>
                  <a:srgbClr val="E2E56D"/>
                </a:solidFill>
                <a:latin typeface="微软雅黑" pitchFamily="34" charset="-122"/>
                <a:ea typeface="微软雅黑" pitchFamily="34" charset="-122"/>
              </a:rPr>
              <a:t>大数据</a:t>
            </a:r>
            <a:endParaRPr lang="zh-CN" altLang="en-US" sz="4800" dirty="0">
              <a:solidFill>
                <a:srgbClr val="E2E56D"/>
              </a:solidFill>
            </a:endParaRPr>
          </a:p>
        </p:txBody>
      </p:sp>
      <p:sp>
        <p:nvSpPr>
          <p:cNvPr id="4" name="矩形 2"/>
          <p:cNvSpPr>
            <a:spLocks noChangeArrowheads="1"/>
          </p:cNvSpPr>
          <p:nvPr/>
        </p:nvSpPr>
        <p:spPr bwMode="auto">
          <a:xfrm>
            <a:off x="6667774" y="2592119"/>
            <a:ext cx="1727200" cy="622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040" tIns="64520" rIns="129040" bIns="64520"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en-US" altLang="zh-CN" sz="3200" b="1" dirty="0">
                <a:solidFill>
                  <a:srgbClr val="F2ECDE"/>
                </a:solidFill>
                <a:latin typeface="微软雅黑" pitchFamily="34" charset="-122"/>
                <a:ea typeface="微软雅黑" pitchFamily="34" charset="-122"/>
              </a:rPr>
              <a:t>OPAC</a:t>
            </a:r>
            <a:endParaRPr lang="zh-CN" altLang="en-US" sz="3200" dirty="0">
              <a:solidFill>
                <a:srgbClr val="F2ECDE"/>
              </a:solidFill>
            </a:endParaRPr>
          </a:p>
        </p:txBody>
      </p:sp>
      <p:sp>
        <p:nvSpPr>
          <p:cNvPr id="5" name="矩形 2"/>
          <p:cNvSpPr>
            <a:spLocks noChangeArrowheads="1"/>
          </p:cNvSpPr>
          <p:nvPr/>
        </p:nvSpPr>
        <p:spPr bwMode="auto">
          <a:xfrm>
            <a:off x="3136009" y="2320429"/>
            <a:ext cx="3120413" cy="745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9040" tIns="64520" rIns="129040" bIns="64520"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/>
            <a:r>
              <a:rPr lang="zh-CN" altLang="en-US" sz="4000" b="1" dirty="0">
                <a:solidFill>
                  <a:srgbClr val="FFFFFF"/>
                </a:solidFill>
                <a:latin typeface="华文新魏" panose="02010800040101010101" pitchFamily="2" charset="-122"/>
                <a:ea typeface="华文新魏" panose="02010800040101010101" pitchFamily="2" charset="-122"/>
              </a:rPr>
              <a:t>计算机</a:t>
            </a:r>
          </a:p>
        </p:txBody>
      </p:sp>
      <p:sp>
        <p:nvSpPr>
          <p:cNvPr id="6" name="矩形 2"/>
          <p:cNvSpPr>
            <a:spLocks noChangeArrowheads="1"/>
          </p:cNvSpPr>
          <p:nvPr/>
        </p:nvSpPr>
        <p:spPr bwMode="auto">
          <a:xfrm>
            <a:off x="2932263" y="2251826"/>
            <a:ext cx="1368425" cy="56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040" tIns="64520" rIns="129040" bIns="64520"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en-US" altLang="zh-CN" sz="2800" b="1" dirty="0">
                <a:solidFill>
                  <a:srgbClr val="FFB3B5"/>
                </a:solidFill>
                <a:latin typeface="微软雅黑" pitchFamily="34" charset="-122"/>
                <a:ea typeface="微软雅黑" pitchFamily="34" charset="-122"/>
              </a:rPr>
              <a:t>OA</a:t>
            </a:r>
            <a:endParaRPr lang="zh-CN" altLang="en-US" sz="2800" dirty="0">
              <a:solidFill>
                <a:srgbClr val="FFB3B5"/>
              </a:solidFill>
            </a:endParaRPr>
          </a:p>
        </p:txBody>
      </p:sp>
      <p:sp>
        <p:nvSpPr>
          <p:cNvPr id="7" name="矩形 2"/>
          <p:cNvSpPr>
            <a:spLocks noChangeArrowheads="1"/>
          </p:cNvSpPr>
          <p:nvPr/>
        </p:nvSpPr>
        <p:spPr bwMode="auto">
          <a:xfrm>
            <a:off x="5364089" y="3219823"/>
            <a:ext cx="3672134" cy="80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9040" tIns="64520" rIns="129040" bIns="64520"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en-US" altLang="zh-CN" sz="4400" b="1" dirty="0">
                <a:solidFill>
                  <a:srgbClr val="00FF00"/>
                </a:solidFill>
                <a:latin typeface="微软雅黑" pitchFamily="34" charset="-122"/>
                <a:ea typeface="微软雅黑" pitchFamily="34" charset="-122"/>
              </a:rPr>
              <a:t>Discover</a:t>
            </a:r>
            <a:endParaRPr lang="zh-CN" altLang="en-US" sz="4400" b="1" dirty="0">
              <a:solidFill>
                <a:srgbClr val="00FF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2"/>
          <p:cNvSpPr>
            <a:spLocks noChangeArrowheads="1"/>
          </p:cNvSpPr>
          <p:nvPr/>
        </p:nvSpPr>
        <p:spPr bwMode="auto">
          <a:xfrm>
            <a:off x="4513265" y="1073459"/>
            <a:ext cx="4725987" cy="1053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040" tIns="64520" rIns="129040" bIns="64520"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6000" b="1" dirty="0">
                <a:solidFill>
                  <a:srgbClr val="FF000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互联网</a:t>
            </a:r>
            <a:r>
              <a:rPr lang="en-US" altLang="zh-CN" sz="6000" b="1" dirty="0">
                <a:solidFill>
                  <a:srgbClr val="FF000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+</a:t>
            </a:r>
            <a:endParaRPr lang="zh-CN" altLang="en-US" sz="6000" b="1" dirty="0">
              <a:solidFill>
                <a:srgbClr val="FF0000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  <p:sp>
        <p:nvSpPr>
          <p:cNvPr id="9" name="矩形 2"/>
          <p:cNvSpPr>
            <a:spLocks noChangeArrowheads="1"/>
          </p:cNvSpPr>
          <p:nvPr/>
        </p:nvSpPr>
        <p:spPr bwMode="auto">
          <a:xfrm>
            <a:off x="1219424" y="2320429"/>
            <a:ext cx="1794508" cy="438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9040" tIns="64520" rIns="129040" bIns="64520"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2000" b="1" dirty="0">
                <a:solidFill>
                  <a:srgbClr val="00FFFF"/>
                </a:solidFill>
                <a:latin typeface="微软雅黑" pitchFamily="34" charset="-122"/>
                <a:ea typeface="微软雅黑" pitchFamily="34" charset="-122"/>
              </a:rPr>
              <a:t>云技术</a:t>
            </a:r>
            <a:endParaRPr lang="zh-CN" altLang="en-US" sz="2000" dirty="0">
              <a:solidFill>
                <a:srgbClr val="00FFFF"/>
              </a:solidFill>
            </a:endParaRPr>
          </a:p>
        </p:txBody>
      </p:sp>
      <p:sp>
        <p:nvSpPr>
          <p:cNvPr id="10" name="矩形 2"/>
          <p:cNvSpPr>
            <a:spLocks noChangeArrowheads="1"/>
          </p:cNvSpPr>
          <p:nvPr/>
        </p:nvSpPr>
        <p:spPr bwMode="auto">
          <a:xfrm>
            <a:off x="922879" y="1152478"/>
            <a:ext cx="2664296" cy="80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9040" tIns="64520" rIns="129040" bIns="64520"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/>
            <a:r>
              <a:rPr lang="zh-CN" altLang="en-US" sz="4400" b="1" dirty="0">
                <a:solidFill>
                  <a:srgbClr val="92D050"/>
                </a:solidFill>
                <a:latin typeface="微软雅黑" pitchFamily="34" charset="-122"/>
                <a:ea typeface="微软雅黑" pitchFamily="34" charset="-122"/>
              </a:rPr>
              <a:t>数字化</a:t>
            </a:r>
          </a:p>
        </p:txBody>
      </p:sp>
      <p:sp>
        <p:nvSpPr>
          <p:cNvPr id="11" name="矩形 2"/>
          <p:cNvSpPr>
            <a:spLocks noChangeArrowheads="1"/>
          </p:cNvSpPr>
          <p:nvPr/>
        </p:nvSpPr>
        <p:spPr bwMode="auto">
          <a:xfrm>
            <a:off x="489555" y="3128339"/>
            <a:ext cx="2555776" cy="80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9040" tIns="64520" rIns="129040" bIns="64520"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4400" b="1" dirty="0">
                <a:solidFill>
                  <a:srgbClr val="FFC000"/>
                </a:solidFill>
                <a:latin typeface="华文隶书" panose="02010800040101010101" pitchFamily="2" charset="-122"/>
                <a:ea typeface="华文隶书" panose="02010800040101010101" pitchFamily="2" charset="-122"/>
              </a:rPr>
              <a:t>移动网</a:t>
            </a:r>
            <a:endParaRPr lang="zh-CN" altLang="en-US" sz="4400" dirty="0">
              <a:solidFill>
                <a:srgbClr val="FFC000"/>
              </a:solidFill>
              <a:latin typeface="华文隶书" panose="02010800040101010101" pitchFamily="2" charset="-122"/>
              <a:ea typeface="华文隶书" panose="02010800040101010101" pitchFamily="2" charset="-122"/>
            </a:endParaRPr>
          </a:p>
        </p:txBody>
      </p:sp>
      <p:sp>
        <p:nvSpPr>
          <p:cNvPr id="12" name="矩形 8"/>
          <p:cNvSpPr>
            <a:spLocks noChangeArrowheads="1"/>
          </p:cNvSpPr>
          <p:nvPr/>
        </p:nvSpPr>
        <p:spPr bwMode="auto">
          <a:xfrm>
            <a:off x="249975" y="94855"/>
            <a:ext cx="8892480" cy="1032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363" tIns="54183" rIns="108363" bIns="54183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4000" dirty="0">
                <a:solidFill>
                  <a:srgbClr val="FFFF00"/>
                </a:solidFill>
                <a:sym typeface="微软雅黑" pitchFamily="34" charset="-122"/>
              </a:rPr>
              <a:t>影响现代图书馆发展的关键要素</a:t>
            </a:r>
            <a:endParaRPr lang="en-US" altLang="zh-CN" sz="4000" dirty="0">
              <a:solidFill>
                <a:srgbClr val="FFFF00"/>
              </a:solidFill>
              <a:sym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7850781"/>
      </p:ext>
    </p:ext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75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250"/>
                            </p:stCondLst>
                            <p:childTnLst>
                              <p:par>
                                <p:cTn id="3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500"/>
                            </p:stCondLst>
                            <p:childTnLst>
                              <p:par>
                                <p:cTn id="4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750"/>
                            </p:stCondLst>
                            <p:childTnLst>
                              <p:par>
                                <p:cTn id="4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000"/>
                            </p:stCondLst>
                            <p:childTnLst>
                              <p:par>
                                <p:cTn id="5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  <p:bldP spid="6" grpId="0"/>
      <p:bldP spid="7" grpId="0"/>
      <p:bldP spid="8" grpId="0"/>
      <p:bldP spid="9" grpId="0"/>
      <p:bldP spid="10" grpId="0"/>
      <p:bldP spid="11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文本框 21"/>
          <p:cNvSpPr txBox="1"/>
          <p:nvPr>
            <p:custDataLst>
              <p:tags r:id="rId2"/>
            </p:custDataLst>
          </p:nvPr>
        </p:nvSpPr>
        <p:spPr>
          <a:xfrm>
            <a:off x="537660" y="17863"/>
            <a:ext cx="7886700" cy="548100"/>
          </a:xfrm>
          <a:prstGeom prst="rect">
            <a:avLst/>
          </a:prstGeom>
        </p:spPr>
        <p:txBody>
          <a:bodyPr vert="horz" lIns="90000" tIns="46800" rIns="90000" bIns="4680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b="1" dirty="0" smtClean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授文库专题</a:t>
            </a:r>
            <a:endParaRPr lang="zh-CN" altLang="en-US" sz="2400" b="1" dirty="0">
              <a:solidFill>
                <a:srgbClr val="FFFF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46"/>
          <a:stretch/>
        </p:blipFill>
        <p:spPr bwMode="auto">
          <a:xfrm>
            <a:off x="116505" y="895826"/>
            <a:ext cx="2838203" cy="272229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2" r="3685"/>
          <a:stretch/>
        </p:blipFill>
        <p:spPr bwMode="auto">
          <a:xfrm>
            <a:off x="3269725" y="1310725"/>
            <a:ext cx="2898509" cy="2583095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412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4090" y="1606836"/>
            <a:ext cx="2798430" cy="3544315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89701462"/>
      </p:ext>
    </p:extLst>
  </p:cSld>
  <p:clrMapOvr>
    <a:masterClrMapping/>
  </p:clrMapOvr>
  <p:timing>
    <p:tnLst>
      <p:par>
        <p:cTn id="1" dur="indefinite" restart="never" fill="hold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asted-image.pdf" descr="C:\Users\dongmei\Desktop\QQ截图20160512101541.pngQQ截图20160512101541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1000"/>
                    </a14:imgEffect>
                    <a14:imgEffect>
                      <a14:brightnessContrast bright="-29000" contrast="58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145367" y="715294"/>
            <a:ext cx="5758362" cy="3206606"/>
          </a:xfrm>
          <a:prstGeom prst="rect">
            <a:avLst/>
          </a:prstGeom>
          <a:ln w="25400">
            <a:miter lim="400000"/>
            <a:headEnd/>
            <a:tailEnd/>
          </a:ln>
          <a:effectLst>
            <a:reflection stA="50000" endPos="40000" dir="5400000" sy="-100000" algn="bl" rotWithShape="0"/>
          </a:effectLst>
        </p:spPr>
      </p:pic>
      <p:sp>
        <p:nvSpPr>
          <p:cNvPr id="22" name="文本框 21"/>
          <p:cNvSpPr txBox="1"/>
          <p:nvPr>
            <p:custDataLst>
              <p:tags r:id="rId2"/>
            </p:custDataLst>
          </p:nvPr>
        </p:nvSpPr>
        <p:spPr>
          <a:xfrm>
            <a:off x="537660" y="17863"/>
            <a:ext cx="7886700" cy="548100"/>
          </a:xfrm>
          <a:prstGeom prst="rect">
            <a:avLst/>
          </a:prstGeom>
        </p:spPr>
        <p:txBody>
          <a:bodyPr vert="horz" lIns="90000" tIns="46800" rIns="90000" bIns="4680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b="1" dirty="0" smtClean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授文库专题</a:t>
            </a:r>
            <a:endParaRPr lang="zh-CN" altLang="en-US" sz="2400" b="1" dirty="0">
              <a:solidFill>
                <a:srgbClr val="FFFF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pasted-image.pdf" descr="C:\Users\dongmei\Desktop\QQ截图20160512094517.pngQQ截图20160512094517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8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6035521" y="720289"/>
            <a:ext cx="3356610" cy="3283744"/>
          </a:xfrm>
          <a:prstGeom prst="rect">
            <a:avLst/>
          </a:prstGeom>
          <a:ln w="25400">
            <a:miter lim="400000"/>
            <a:headEnd/>
            <a:tailEnd/>
          </a:ln>
          <a:effectLst>
            <a:reflection stA="50000" endPos="40000" dir="5400000" sy="-100000" algn="bl" rotWithShape="0"/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20578067"/>
      </p:ext>
    </p:extLst>
  </p:cSld>
  <p:clrMapOvr>
    <a:masterClrMapping/>
  </p:clrMapOvr>
  <p:timing>
    <p:tnLst>
      <p:par>
        <p:cTn id="1" dur="indefinite" restart="never" fill="hold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矩形 1"/>
          <p:cNvSpPr>
            <a:spLocks noChangeArrowheads="1"/>
          </p:cNvSpPr>
          <p:nvPr/>
        </p:nvSpPr>
        <p:spPr bwMode="auto">
          <a:xfrm>
            <a:off x="701570" y="1597912"/>
            <a:ext cx="8192910" cy="86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dirty="0" smtClean="0">
                <a:solidFill>
                  <a:srgbClr val="FFFF00"/>
                </a:solidFill>
              </a:rPr>
              <a:t>灵活多样的热点专题服务</a:t>
            </a:r>
            <a:endParaRPr lang="zh-CN" alt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855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-35154" y="2206771"/>
            <a:ext cx="2785391" cy="499626"/>
          </a:xfrm>
          <a:prstGeom prst="rect">
            <a:avLst/>
          </a:prstGeom>
          <a:noFill/>
        </p:spPr>
        <p:txBody>
          <a:bodyPr wrap="square" lIns="129034" tIns="64517" rIns="129034" bIns="64517" rtlCol="0">
            <a:spAutoFit/>
          </a:bodyPr>
          <a:lstStyle/>
          <a:p>
            <a:pPr algn="ctr"/>
            <a:r>
              <a:rPr lang="zh-CN" altLang="en-US" sz="24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湘图两会专题</a:t>
            </a:r>
          </a:p>
        </p:txBody>
      </p:sp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0" y="1086586"/>
            <a:ext cx="2161312" cy="3973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9784" y="1086584"/>
            <a:ext cx="2162896" cy="3973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707016" y="2206771"/>
            <a:ext cx="1664113" cy="745847"/>
          </a:xfrm>
          <a:prstGeom prst="rect">
            <a:avLst/>
          </a:prstGeom>
          <a:noFill/>
        </p:spPr>
        <p:txBody>
          <a:bodyPr wrap="square" lIns="129034" tIns="64517" rIns="129034" bIns="64517" rtlCol="0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学教代会</a:t>
            </a:r>
            <a:endParaRPr lang="en-US" altLang="zh-CN" sz="2000" b="1" dirty="0">
              <a:solidFill>
                <a:srgbClr val="FFFF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20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职代会专题</a:t>
            </a:r>
          </a:p>
        </p:txBody>
      </p:sp>
      <p:sp>
        <p:nvSpPr>
          <p:cNvPr id="7" name="矩形 1"/>
          <p:cNvSpPr>
            <a:spLocks noChangeArrowheads="1"/>
          </p:cNvSpPr>
          <p:nvPr/>
        </p:nvSpPr>
        <p:spPr bwMode="auto">
          <a:xfrm>
            <a:off x="252414" y="141482"/>
            <a:ext cx="4096455" cy="86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marL="645201" indent="-645201" algn="l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solidFill>
                  <a:srgbClr val="FFFF00"/>
                </a:solidFill>
              </a:rPr>
              <a:t>灵活的专题服务</a:t>
            </a:r>
          </a:p>
        </p:txBody>
      </p:sp>
    </p:spTree>
    <p:extLst>
      <p:ext uri="{BB962C8B-B14F-4D97-AF65-F5344CB8AC3E}">
        <p14:creationId xmlns:p14="http://schemas.microsoft.com/office/powerpoint/2010/main" val="934513702"/>
      </p:ext>
    </p:extLst>
  </p:cSld>
  <p:clrMapOvr>
    <a:masterClrMapping/>
  </p:clrMapOvr>
  <p:transition spd="slow">
    <p:circl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194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750"/>
                                        <p:tgtEl>
                                          <p:spTgt spid="194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9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17" y="951571"/>
            <a:ext cx="4815533" cy="4191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2260" y="522714"/>
            <a:ext cx="2046330" cy="4371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16505" y="322662"/>
            <a:ext cx="6980302" cy="561181"/>
          </a:xfrm>
          <a:prstGeom prst="rect">
            <a:avLst/>
          </a:prstGeom>
          <a:noFill/>
        </p:spPr>
        <p:txBody>
          <a:bodyPr wrap="square" lIns="129034" tIns="64517" rIns="129034" bIns="64517" rtlCol="0">
            <a:spAutoFit/>
          </a:bodyPr>
          <a:lstStyle/>
          <a:p>
            <a:r>
              <a:rPr lang="en-US" altLang="zh-CN" sz="28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C</a:t>
            </a:r>
            <a:r>
              <a:rPr lang="zh-CN" altLang="en-US" sz="28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手机端、大屏阅读机贯通的专题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7096" y="1429764"/>
            <a:ext cx="1125125" cy="2986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60743412"/>
      </p:ext>
    </p:extLst>
  </p:cSld>
  <p:clrMapOvr>
    <a:masterClrMapping/>
  </p:clrMapOvr>
  <p:transition spd="slow">
    <p:circl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5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5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74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4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45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45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1" y="979308"/>
            <a:ext cx="2475275" cy="4056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0368" y="968870"/>
            <a:ext cx="2706750" cy="4005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82" y="69221"/>
            <a:ext cx="4959370" cy="982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5000" contrast="6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2153" y="107729"/>
            <a:ext cx="2970331" cy="4899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0804999"/>
      </p:ext>
    </p:extLst>
  </p:cSld>
  <p:clrMapOvr>
    <a:masterClrMapping/>
  </p:clrMapOvr>
  <p:transition spd="med">
    <p:wheel spokes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2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2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2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2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63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63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矩形 1"/>
          <p:cNvSpPr>
            <a:spLocks noChangeArrowheads="1"/>
          </p:cNvSpPr>
          <p:nvPr/>
        </p:nvSpPr>
        <p:spPr bwMode="auto">
          <a:xfrm>
            <a:off x="701570" y="1597912"/>
            <a:ext cx="8192910" cy="1238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4800" dirty="0" smtClean="0">
                <a:solidFill>
                  <a:srgbClr val="FFFF00"/>
                </a:solidFill>
              </a:rPr>
              <a:t>人人参与的阅读推荐专题</a:t>
            </a:r>
            <a:endParaRPr lang="zh-CN" altLang="en-US" sz="48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301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9000" contrast="-2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565" y="850310"/>
            <a:ext cx="5325392" cy="4100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666" y="15946"/>
            <a:ext cx="2373084" cy="5050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712" y="73068"/>
            <a:ext cx="4402022" cy="957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81873286"/>
      </p:ext>
    </p:extLst>
  </p:cSld>
  <p:clrMapOvr>
    <a:masterClrMapping/>
  </p:clrMapOvr>
  <p:transition spd="slow">
    <p:circl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15" y="468566"/>
            <a:ext cx="2715096" cy="4413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7"/>
          <a:stretch/>
        </p:blipFill>
        <p:spPr bwMode="auto">
          <a:xfrm>
            <a:off x="3131840" y="500772"/>
            <a:ext cx="2818202" cy="4348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9"/>
          <a:stretch/>
        </p:blipFill>
        <p:spPr bwMode="auto">
          <a:xfrm>
            <a:off x="6147177" y="475252"/>
            <a:ext cx="2745305" cy="4346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2192879"/>
      </p:ext>
    </p:extLst>
  </p:cSld>
  <p:clrMapOvr>
    <a:masterClrMapping/>
  </p:clrMapOvr>
  <p:transition spd="slow">
    <p:circle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536" y="232251"/>
            <a:ext cx="8280920" cy="4731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9098682"/>
      </p:ext>
    </p:extLst>
  </p:cSld>
  <p:clrMapOvr>
    <a:masterClrMapping/>
  </p:clrMapOvr>
  <p:transition spd="slow">
    <p:circl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818" y="1563009"/>
            <a:ext cx="7573232" cy="1010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0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819" y="2391733"/>
            <a:ext cx="8796947" cy="10804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5427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1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620297" y="833093"/>
            <a:ext cx="7812360" cy="438071"/>
          </a:xfrm>
          <a:prstGeom prst="rect">
            <a:avLst/>
          </a:prstGeom>
          <a:noFill/>
        </p:spPr>
        <p:txBody>
          <a:bodyPr wrap="square" lIns="129034" tIns="64517" rIns="129034" bIns="64517" rtlCol="0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湖南省高校通过共享知识空间开展“一校一书”阅读推广活动</a:t>
            </a:r>
          </a:p>
        </p:txBody>
      </p:sp>
      <p:pic>
        <p:nvPicPr>
          <p:cNvPr id="7" name="图片 1" descr="09 第一部分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8000" contrast="89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6506" y="1160484"/>
            <a:ext cx="1602119" cy="3931547"/>
          </a:xfrm>
          <a:prstGeom prst="rect">
            <a:avLst/>
          </a:prstGeom>
          <a:noFill/>
          <a:ln w="19050">
            <a:solidFill>
              <a:schemeClr val="tx1"/>
            </a:solidFill>
            <a:miter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7000" contrast="8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1941" y="1402344"/>
            <a:ext cx="3015335" cy="327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线形标注 3(带边框和强调线) 1"/>
          <p:cNvSpPr/>
          <p:nvPr/>
        </p:nvSpPr>
        <p:spPr>
          <a:xfrm>
            <a:off x="7163780" y="1447319"/>
            <a:ext cx="1980220" cy="989499"/>
          </a:xfrm>
          <a:prstGeom prst="accentBorderCallout3">
            <a:avLst>
              <a:gd name="adj1" fmla="val 18750"/>
              <a:gd name="adj2" fmla="val -8333"/>
              <a:gd name="adj3" fmla="val 18750"/>
              <a:gd name="adj4" fmla="val -16667"/>
              <a:gd name="adj5" fmla="val 100000"/>
              <a:gd name="adj6" fmla="val -16667"/>
              <a:gd name="adj7" fmla="val 161064"/>
              <a:gd name="adj8" fmla="val -59801"/>
            </a:avLst>
          </a:prstGeom>
          <a:solidFill>
            <a:srgbClr val="F2ECDE"/>
          </a:solidFill>
          <a:ln w="254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9040" tIns="64520" rIns="129040" bIns="64520" rtlCol="0" anchor="ctr"/>
          <a:lstStyle/>
          <a:p>
            <a:pPr algn="ctr"/>
            <a:r>
              <a:rPr lang="zh-CN" altLang="en-US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秀心得发布</a:t>
            </a:r>
          </a:p>
        </p:txBody>
      </p:sp>
      <p:sp>
        <p:nvSpPr>
          <p:cNvPr id="9" name="线形标注 3(带边框和强调线) 8"/>
          <p:cNvSpPr/>
          <p:nvPr/>
        </p:nvSpPr>
        <p:spPr>
          <a:xfrm>
            <a:off x="7163780" y="2741431"/>
            <a:ext cx="1980220" cy="989499"/>
          </a:xfrm>
          <a:prstGeom prst="accentBorderCallout3">
            <a:avLst>
              <a:gd name="adj1" fmla="val 18750"/>
              <a:gd name="adj2" fmla="val -8333"/>
              <a:gd name="adj3" fmla="val 91864"/>
              <a:gd name="adj4" fmla="val -19553"/>
              <a:gd name="adj5" fmla="val 98076"/>
              <a:gd name="adj6" fmla="val -50818"/>
              <a:gd name="adj7" fmla="val 114887"/>
              <a:gd name="adj8" fmla="val -56915"/>
            </a:avLst>
          </a:prstGeom>
          <a:solidFill>
            <a:srgbClr val="F2ECDE"/>
          </a:solidFill>
          <a:ln w="254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9040" tIns="64520" rIns="129040" bIns="64520" rtlCol="0" anchor="ctr"/>
          <a:lstStyle/>
          <a:p>
            <a:pPr algn="ctr"/>
            <a:r>
              <a:rPr lang="zh-CN" altLang="en-US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己的读书记录</a:t>
            </a:r>
          </a:p>
        </p:txBody>
      </p:sp>
      <p:sp>
        <p:nvSpPr>
          <p:cNvPr id="10" name="线形标注 3(带边框和强调线) 9"/>
          <p:cNvSpPr/>
          <p:nvPr/>
        </p:nvSpPr>
        <p:spPr>
          <a:xfrm>
            <a:off x="1826695" y="1447318"/>
            <a:ext cx="1980220" cy="989499"/>
          </a:xfrm>
          <a:prstGeom prst="accentBorderCallout3">
            <a:avLst>
              <a:gd name="adj1" fmla="val 34142"/>
              <a:gd name="adj2" fmla="val 104223"/>
              <a:gd name="adj3" fmla="val 39914"/>
              <a:gd name="adj4" fmla="val 150242"/>
              <a:gd name="adj5" fmla="val 130784"/>
              <a:gd name="adj6" fmla="val 153129"/>
              <a:gd name="adj7" fmla="val 153368"/>
              <a:gd name="adj8" fmla="val 167234"/>
            </a:avLst>
          </a:prstGeom>
          <a:solidFill>
            <a:srgbClr val="F2ECDE"/>
          </a:solidFill>
          <a:ln w="254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9040" tIns="64520" rIns="129040" bIns="64520" rtlCol="0" anchor="ctr"/>
          <a:lstStyle/>
          <a:p>
            <a:pPr algn="ctr"/>
            <a:r>
              <a:rPr lang="zh-CN" altLang="en-US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各馆推广活动发布</a:t>
            </a:r>
          </a:p>
        </p:txBody>
      </p:sp>
      <p:sp>
        <p:nvSpPr>
          <p:cNvPr id="11" name="线形标注 3(带边框和强调线) 10"/>
          <p:cNvSpPr/>
          <p:nvPr/>
        </p:nvSpPr>
        <p:spPr>
          <a:xfrm>
            <a:off x="1841486" y="2981562"/>
            <a:ext cx="1980220" cy="989499"/>
          </a:xfrm>
          <a:prstGeom prst="accentBorderCallout3">
            <a:avLst>
              <a:gd name="adj1" fmla="val 61078"/>
              <a:gd name="adj2" fmla="val 104223"/>
              <a:gd name="adj3" fmla="val 66850"/>
              <a:gd name="adj4" fmla="val 124268"/>
              <a:gd name="adj5" fmla="val 73063"/>
              <a:gd name="adj6" fmla="val 155053"/>
              <a:gd name="adj7" fmla="val 97571"/>
              <a:gd name="adj8" fmla="val 160500"/>
            </a:avLst>
          </a:prstGeom>
          <a:solidFill>
            <a:srgbClr val="F2ECDE"/>
          </a:solidFill>
          <a:ln w="254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9040" tIns="64520" rIns="129040" bIns="64520" rtlCol="0" anchor="ctr"/>
          <a:lstStyle/>
          <a:p>
            <a:pPr algn="ctr"/>
            <a:r>
              <a:rPr lang="zh-CN" altLang="en-US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读者推荐阅读发布</a:t>
            </a:r>
          </a:p>
        </p:txBody>
      </p:sp>
      <p:sp>
        <p:nvSpPr>
          <p:cNvPr id="12" name="矩形 1"/>
          <p:cNvSpPr>
            <a:spLocks noChangeArrowheads="1"/>
          </p:cNvSpPr>
          <p:nvPr/>
        </p:nvSpPr>
        <p:spPr bwMode="auto">
          <a:xfrm>
            <a:off x="252413" y="141481"/>
            <a:ext cx="7289917" cy="776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marL="645201" indent="-645201" algn="l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sz="2800" dirty="0">
                <a:solidFill>
                  <a:srgbClr val="FFFF00"/>
                </a:solidFill>
              </a:rPr>
              <a:t>读者、馆员广泛参与的阅读推广活动</a:t>
            </a:r>
          </a:p>
        </p:txBody>
      </p:sp>
    </p:spTree>
    <p:extLst>
      <p:ext uri="{BB962C8B-B14F-4D97-AF65-F5344CB8AC3E}">
        <p14:creationId xmlns:p14="http://schemas.microsoft.com/office/powerpoint/2010/main" val="2184874643"/>
      </p:ext>
    </p:extLst>
  </p:cSld>
  <p:clrMapOvr>
    <a:masterClrMapping/>
  </p:clrMapOvr>
  <p:transition spd="med">
    <p:wheel spokes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6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" grpId="0" animBg="1"/>
      <p:bldP spid="9" grpId="0" animBg="1"/>
      <p:bldP spid="10" grpId="0" animBg="1"/>
      <p:bldP spid="11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96525" y="191046"/>
            <a:ext cx="6980302" cy="561181"/>
          </a:xfrm>
          <a:prstGeom prst="rect">
            <a:avLst/>
          </a:prstGeom>
          <a:noFill/>
        </p:spPr>
        <p:txBody>
          <a:bodyPr wrap="square" lIns="129034" tIns="64517" rIns="129034" bIns="64517" rtlCol="0">
            <a:spAutoFit/>
          </a:bodyPr>
          <a:lstStyle/>
          <a:p>
            <a:r>
              <a:rPr lang="zh-CN" altLang="en-US" sz="28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项活动文献专题</a:t>
            </a: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176" y="724519"/>
            <a:ext cx="2520280" cy="4418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537" y="739369"/>
            <a:ext cx="2385263" cy="4404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1851" y="720537"/>
            <a:ext cx="2565282" cy="4422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0941763"/>
      </p:ext>
    </p:extLst>
  </p:cSld>
  <p:clrMapOvr>
    <a:masterClrMapping/>
  </p:clrMapOvr>
  <p:transition spd="med">
    <p:wheel spokes="1"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矩形 1"/>
          <p:cNvSpPr>
            <a:spLocks noChangeArrowheads="1"/>
          </p:cNvSpPr>
          <p:nvPr/>
        </p:nvSpPr>
        <p:spPr bwMode="auto">
          <a:xfrm>
            <a:off x="701570" y="1597912"/>
            <a:ext cx="8192910" cy="1238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4800" dirty="0" smtClean="0">
                <a:solidFill>
                  <a:srgbClr val="FFFF00"/>
                </a:solidFill>
              </a:rPr>
              <a:t>可持续更新的特色专题服务</a:t>
            </a:r>
            <a:endParaRPr lang="zh-CN" altLang="en-US" sz="48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502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632292" y="5325"/>
            <a:ext cx="8229600" cy="640916"/>
          </a:xfrm>
          <a:prstGeom prst="rect">
            <a:avLst/>
          </a:prstGeom>
        </p:spPr>
        <p:txBody>
          <a:bodyPr lIns="91436" tIns="45718" rIns="91436" bIns="45718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742950" indent="-28575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  <a:defRPr/>
            </a:pPr>
            <a:r>
              <a:rPr lang="zh-CN" altLang="en-US" dirty="0" smtClean="0">
                <a:solidFill>
                  <a:srgbClr val="FFFF00"/>
                </a:solidFill>
              </a:rPr>
              <a:t>我的专题阅读</a:t>
            </a:r>
            <a:endParaRPr lang="en-US" altLang="zh-CN" dirty="0">
              <a:solidFill>
                <a:srgbClr val="FFFF00"/>
              </a:solidFill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37000" contrast="8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150" y="479017"/>
            <a:ext cx="3238500" cy="4643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38000" contrast="8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2061" y="479018"/>
            <a:ext cx="3209925" cy="4638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5842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8" presetClass="entr" presetSubtype="0" accel="5000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9812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set>
                                      <p:cBhvr>
                                        <p:cTn id="7" dur="46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o>
                                        <p:strVal val="-45.0"/>
                                      </p:to>
                                    </p:set>
                                    <p:anim calcmode="lin" valueType="num">
                                      <p:cBhvr>
                                        <p:cTn id="8" dur="46" fill="hold">
                                          <p:stCondLst>
                                            <p:cond delay="4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45"/>
                                          </p:val>
                                        </p:tav>
                                        <p:tav tm="69900">
                                          <p:val>
                                            <p:fltVal val="45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6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" decel="50000" autoRev="1" fill="hold">
                                          <p:stCondLst>
                                            <p:cond delay="4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-#ppt_h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632292" y="5325"/>
            <a:ext cx="8229600" cy="640916"/>
          </a:xfrm>
          <a:prstGeom prst="rect">
            <a:avLst/>
          </a:prstGeom>
        </p:spPr>
        <p:txBody>
          <a:bodyPr lIns="91436" tIns="45718" rIns="91436" bIns="45718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742950" indent="-28575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  <a:defRPr/>
            </a:pPr>
            <a:r>
              <a:rPr lang="zh-CN" altLang="en-US" dirty="0" smtClean="0">
                <a:solidFill>
                  <a:srgbClr val="FFFF00"/>
                </a:solidFill>
              </a:rPr>
              <a:t>我的专题阅读</a:t>
            </a:r>
            <a:r>
              <a:rPr lang="en-US" altLang="zh-CN" dirty="0" smtClean="0">
                <a:solidFill>
                  <a:srgbClr val="FFFF00"/>
                </a:solidFill>
              </a:rPr>
              <a:t>-</a:t>
            </a:r>
            <a:r>
              <a:rPr lang="zh-CN" altLang="en-US" dirty="0" smtClean="0">
                <a:solidFill>
                  <a:srgbClr val="FFFF00"/>
                </a:solidFill>
              </a:rPr>
              <a:t>古筝欣赏</a:t>
            </a:r>
            <a:endParaRPr lang="en-US" altLang="zh-CN" dirty="0">
              <a:solidFill>
                <a:srgbClr val="FFFF00"/>
              </a:solidFill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" contrast="2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01" y="823600"/>
            <a:ext cx="2974996" cy="399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0000" contrast="8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816555"/>
            <a:ext cx="2974996" cy="3982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8000" contrast="6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7186" y="816555"/>
            <a:ext cx="2869887" cy="4003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8212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8" presetClass="entr" presetSubtype="0" accel="5000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9812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set>
                                      <p:cBhvr>
                                        <p:cTn id="7" dur="46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o>
                                        <p:strVal val="-45.0"/>
                                      </p:to>
                                    </p:set>
                                    <p:anim calcmode="lin" valueType="num">
                                      <p:cBhvr>
                                        <p:cTn id="8" dur="46" fill="hold">
                                          <p:stCondLst>
                                            <p:cond delay="4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45"/>
                                          </p:val>
                                        </p:tav>
                                        <p:tav tm="69900">
                                          <p:val>
                                            <p:fltVal val="45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6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" decel="50000" autoRev="1" fill="hold">
                                          <p:stCondLst>
                                            <p:cond delay="4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-#ppt_h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632292" y="5325"/>
            <a:ext cx="8229600" cy="640916"/>
          </a:xfrm>
          <a:prstGeom prst="rect">
            <a:avLst/>
          </a:prstGeom>
        </p:spPr>
        <p:txBody>
          <a:bodyPr lIns="91436" tIns="45718" rIns="91436" bIns="45718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742950" indent="-28575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  <a:defRPr/>
            </a:pPr>
            <a:r>
              <a:rPr lang="zh-CN" altLang="en-US" dirty="0" smtClean="0">
                <a:solidFill>
                  <a:srgbClr val="FFFF00"/>
                </a:solidFill>
              </a:rPr>
              <a:t>我的专题阅读</a:t>
            </a:r>
            <a:r>
              <a:rPr lang="en-US" altLang="zh-CN" dirty="0" smtClean="0">
                <a:solidFill>
                  <a:srgbClr val="FFFF00"/>
                </a:solidFill>
              </a:rPr>
              <a:t>-</a:t>
            </a:r>
            <a:r>
              <a:rPr lang="zh-CN" altLang="en-US" dirty="0" smtClean="0">
                <a:solidFill>
                  <a:srgbClr val="FFFF00"/>
                </a:solidFill>
              </a:rPr>
              <a:t>古筝欣赏</a:t>
            </a:r>
            <a:endParaRPr lang="en-US" altLang="zh-CN" dirty="0">
              <a:solidFill>
                <a:srgbClr val="FFFF00"/>
              </a:solidFill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511" y="917815"/>
            <a:ext cx="2820923" cy="3789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9659" y="917816"/>
            <a:ext cx="2842501" cy="3789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4552" y="917815"/>
            <a:ext cx="2897948" cy="3789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0965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8" presetClass="entr" presetSubtype="0" accel="5000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9812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set>
                                      <p:cBhvr>
                                        <p:cTn id="7" dur="46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o>
                                        <p:strVal val="-45.0"/>
                                      </p:to>
                                    </p:set>
                                    <p:anim calcmode="lin" valueType="num">
                                      <p:cBhvr>
                                        <p:cTn id="8" dur="46" fill="hold">
                                          <p:stCondLst>
                                            <p:cond delay="4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45"/>
                                          </p:val>
                                        </p:tav>
                                        <p:tav tm="69900">
                                          <p:val>
                                            <p:fltVal val="45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6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" decel="50000" autoRev="1" fill="hold">
                                          <p:stCondLst>
                                            <p:cond delay="4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-#ppt_h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632292" y="5325"/>
            <a:ext cx="8229600" cy="640916"/>
          </a:xfrm>
          <a:prstGeom prst="rect">
            <a:avLst/>
          </a:prstGeom>
        </p:spPr>
        <p:txBody>
          <a:bodyPr lIns="91436" tIns="45718" rIns="91436" bIns="45718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742950" indent="-28575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  <a:defRPr/>
            </a:pPr>
            <a:r>
              <a:rPr lang="zh-CN" altLang="en-US" dirty="0" smtClean="0">
                <a:solidFill>
                  <a:srgbClr val="FFFF00"/>
                </a:solidFill>
              </a:rPr>
              <a:t>我的专题阅读</a:t>
            </a:r>
            <a:r>
              <a:rPr lang="en-US" altLang="zh-CN" dirty="0" smtClean="0">
                <a:solidFill>
                  <a:srgbClr val="FFFF00"/>
                </a:solidFill>
              </a:rPr>
              <a:t>-</a:t>
            </a:r>
            <a:r>
              <a:rPr lang="zh-CN" altLang="en-US" dirty="0" smtClean="0">
                <a:solidFill>
                  <a:srgbClr val="FFFF00"/>
                </a:solidFill>
              </a:rPr>
              <a:t>走进民谣</a:t>
            </a:r>
            <a:endParaRPr lang="en-US" altLang="zh-CN" dirty="0">
              <a:solidFill>
                <a:srgbClr val="FFFF00"/>
              </a:solidFill>
            </a:endParaRP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816555"/>
            <a:ext cx="9144000" cy="3680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4526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8" presetClass="entr" presetSubtype="0" accel="5000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9812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set>
                                      <p:cBhvr>
                                        <p:cTn id="7" dur="46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o>
                                        <p:strVal val="-45.0"/>
                                      </p:to>
                                    </p:set>
                                    <p:anim calcmode="lin" valueType="num">
                                      <p:cBhvr>
                                        <p:cTn id="8" dur="46" fill="hold">
                                          <p:stCondLst>
                                            <p:cond delay="4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45"/>
                                          </p:val>
                                        </p:tav>
                                        <p:tav tm="69900">
                                          <p:val>
                                            <p:fltVal val="45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6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" decel="50000" autoRev="1" fill="hold">
                                          <p:stCondLst>
                                            <p:cond delay="4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-#ppt_h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632292" y="5325"/>
            <a:ext cx="8229600" cy="640916"/>
          </a:xfrm>
          <a:prstGeom prst="rect">
            <a:avLst/>
          </a:prstGeom>
        </p:spPr>
        <p:txBody>
          <a:bodyPr lIns="91436" tIns="45718" rIns="91436" bIns="45718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742950" indent="-28575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  <a:defRPr/>
            </a:pPr>
            <a:r>
              <a:rPr lang="zh-CN" altLang="en-US" dirty="0" smtClean="0">
                <a:solidFill>
                  <a:srgbClr val="FFFF00"/>
                </a:solidFill>
              </a:rPr>
              <a:t>我的专题阅读</a:t>
            </a:r>
            <a:r>
              <a:rPr lang="en-US" altLang="zh-CN" dirty="0" smtClean="0">
                <a:solidFill>
                  <a:srgbClr val="FFFF00"/>
                </a:solidFill>
              </a:rPr>
              <a:t>-</a:t>
            </a:r>
            <a:r>
              <a:rPr lang="zh-CN" altLang="en-US" dirty="0" smtClean="0">
                <a:solidFill>
                  <a:srgbClr val="FFFF00"/>
                </a:solidFill>
              </a:rPr>
              <a:t>走进民谣</a:t>
            </a:r>
            <a:endParaRPr lang="en-US" altLang="zh-CN" dirty="0">
              <a:solidFill>
                <a:srgbClr val="FFFF00"/>
              </a:solidFill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85324"/>
            <a:ext cx="9252520" cy="356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904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8" presetClass="entr" presetSubtype="0" accel="5000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9812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set>
                                      <p:cBhvr>
                                        <p:cTn id="7" dur="46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o>
                                        <p:strVal val="-45.0"/>
                                      </p:to>
                                    </p:set>
                                    <p:anim calcmode="lin" valueType="num">
                                      <p:cBhvr>
                                        <p:cTn id="8" dur="46" fill="hold">
                                          <p:stCondLst>
                                            <p:cond delay="4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45"/>
                                          </p:val>
                                        </p:tav>
                                        <p:tav tm="69900">
                                          <p:val>
                                            <p:fltVal val="45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6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" decel="50000" autoRev="1" fill="hold">
                                          <p:stCondLst>
                                            <p:cond delay="4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-#ppt_h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632292" y="5325"/>
            <a:ext cx="8229600" cy="640916"/>
          </a:xfrm>
          <a:prstGeom prst="rect">
            <a:avLst/>
          </a:prstGeom>
        </p:spPr>
        <p:txBody>
          <a:bodyPr lIns="91436" tIns="45718" rIns="91436" bIns="45718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742950" indent="-28575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1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  <a:defRPr/>
            </a:pPr>
            <a:r>
              <a:rPr lang="zh-CN" altLang="en-US" dirty="0" smtClean="0">
                <a:solidFill>
                  <a:srgbClr val="FFFF00"/>
                </a:solidFill>
              </a:rPr>
              <a:t>我的专题阅读</a:t>
            </a:r>
            <a:r>
              <a:rPr lang="en-US" altLang="zh-CN" dirty="0" smtClean="0">
                <a:solidFill>
                  <a:srgbClr val="FFFF00"/>
                </a:solidFill>
              </a:rPr>
              <a:t>-</a:t>
            </a:r>
            <a:r>
              <a:rPr lang="zh-CN" altLang="en-US" dirty="0" smtClean="0">
                <a:solidFill>
                  <a:srgbClr val="FFFF00"/>
                </a:solidFill>
              </a:rPr>
              <a:t>走进民谣</a:t>
            </a:r>
            <a:endParaRPr lang="en-US" altLang="zh-CN" dirty="0">
              <a:solidFill>
                <a:srgbClr val="FFFF00"/>
              </a:solidFill>
            </a:endParaRPr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3000" contrast="7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775" y="646241"/>
            <a:ext cx="7037387" cy="442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7879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8" presetClass="entr" presetSubtype="0" accel="5000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9812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set>
                                      <p:cBhvr>
                                        <p:cTn id="7" dur="46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o>
                                        <p:strVal val="-45.0"/>
                                      </p:to>
                                    </p:set>
                                    <p:anim calcmode="lin" valueType="num">
                                      <p:cBhvr>
                                        <p:cTn id="8" dur="46" fill="hold">
                                          <p:stCondLst>
                                            <p:cond delay="4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45"/>
                                          </p:val>
                                        </p:tav>
                                        <p:tav tm="69900">
                                          <p:val>
                                            <p:fltVal val="45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6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" decel="50000" autoRev="1" fill="hold">
                                          <p:stCondLst>
                                            <p:cond delay="4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-#ppt_h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617" y="898993"/>
            <a:ext cx="7675231" cy="4232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" y="73975"/>
            <a:ext cx="9013639" cy="715714"/>
          </a:xfrm>
          <a:prstGeom prst="rect">
            <a:avLst/>
          </a:prstGeom>
          <a:noFill/>
        </p:spPr>
        <p:txBody>
          <a:bodyPr wrap="square" lIns="221114" tIns="110556" rIns="221114" bIns="110556" rtlCol="0">
            <a:spAutoFit/>
          </a:bodyPr>
          <a:lstStyle/>
          <a:p>
            <a:r>
              <a:rPr lang="zh-CN" altLang="en-US" sz="32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富媒体的地方文献专题</a:t>
            </a:r>
            <a:endParaRPr lang="zh-CN" altLang="en-US" sz="3200" b="1" dirty="0">
              <a:solidFill>
                <a:schemeClr val="bg1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06603539"/>
      </p:ext>
    </p:extLst>
  </p:cSld>
  <p:clrMapOvr>
    <a:masterClrMapping/>
  </p:clrMapOvr>
  <p:transition spd="slow">
    <p:circl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文本框 27"/>
          <p:cNvSpPr txBox="1"/>
          <p:nvPr/>
        </p:nvSpPr>
        <p:spPr>
          <a:xfrm>
            <a:off x="977900" y="401987"/>
            <a:ext cx="7391400" cy="822797"/>
          </a:xfrm>
          <a:prstGeom prst="rect">
            <a:avLst/>
          </a:prstGeom>
          <a:noFill/>
        </p:spPr>
        <p:txBody>
          <a:bodyPr wrap="square" lIns="129040" tIns="64520" rIns="129040" bIns="64520" rtlCol="0">
            <a:spAutoFit/>
          </a:bodyPr>
          <a:lstStyle/>
          <a:p>
            <a:pPr algn="ctr"/>
            <a:r>
              <a:rPr lang="zh-CN" altLang="en-US" sz="45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状</a:t>
            </a:r>
            <a:endParaRPr lang="en-US" altLang="zh-CN" sz="4500" b="1" dirty="0">
              <a:solidFill>
                <a:srgbClr val="FFFF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06400" y="1136587"/>
            <a:ext cx="8394700" cy="4054451"/>
          </a:xfrm>
          <a:prstGeom prst="rect">
            <a:avLst/>
          </a:prstGeom>
        </p:spPr>
        <p:txBody>
          <a:bodyPr wrap="square" lIns="129040" tIns="64520" rIns="129040" bIns="6452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34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源建设：</a:t>
            </a:r>
            <a:r>
              <a:rPr lang="zh-CN" altLang="en-US" sz="3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具备规模，形成体系</a:t>
            </a:r>
            <a:endParaRPr lang="en-US" altLang="zh-CN" sz="34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34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系统：</a:t>
            </a:r>
            <a:r>
              <a:rPr lang="zh-CN" altLang="en-US" sz="3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整合，统一检索</a:t>
            </a:r>
            <a:endParaRPr lang="en-US" altLang="zh-CN" sz="3400" b="1" dirty="0">
              <a:solidFill>
                <a:srgbClr val="FFFF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3400" b="1" dirty="0">
                <a:solidFill>
                  <a:srgbClr val="92D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门户网站：形式多样，功能单一</a:t>
            </a:r>
            <a:endParaRPr lang="en-US" altLang="zh-CN" sz="3400" b="1" dirty="0">
              <a:solidFill>
                <a:srgbClr val="92D0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3400" b="1" dirty="0">
                <a:solidFill>
                  <a:srgbClr val="92D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体系：多种服务，相互分离</a:t>
            </a:r>
            <a:endParaRPr lang="en-US" altLang="zh-CN" sz="3400" b="1" dirty="0">
              <a:solidFill>
                <a:srgbClr val="92D0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3400" b="1" dirty="0">
                <a:solidFill>
                  <a:srgbClr val="92D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统计分析：各行其是，未能统一</a:t>
            </a:r>
            <a:endParaRPr lang="en-US" altLang="zh-CN" sz="3400" b="1" dirty="0">
              <a:solidFill>
                <a:srgbClr val="92D0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09796239"/>
      </p:ext>
    </p:extLst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120" y="0"/>
            <a:ext cx="691226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8969689"/>
      </p:ext>
    </p:extLst>
  </p:cSld>
  <p:clrMapOvr>
    <a:masterClrMapping/>
  </p:clrMapOvr>
  <p:transition spd="slow">
    <p:circle/>
  </p:transition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9848" y="869525"/>
            <a:ext cx="7234415" cy="4273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矩形 1"/>
          <p:cNvSpPr/>
          <p:nvPr/>
        </p:nvSpPr>
        <p:spPr>
          <a:xfrm>
            <a:off x="116506" y="141481"/>
            <a:ext cx="4950551" cy="776631"/>
          </a:xfrm>
          <a:prstGeom prst="rect">
            <a:avLst/>
          </a:prstGeom>
        </p:spPr>
        <p:txBody>
          <a:bodyPr wrap="square" lIns="129040" tIns="64520" rIns="129040" bIns="64520">
            <a:spAutoFit/>
          </a:bodyPr>
          <a:lstStyle/>
          <a:p>
            <a:pPr marL="645201" indent="-64520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800" b="1" dirty="0">
                <a:solidFill>
                  <a:srgbClr val="FFFF00"/>
                </a:solidFill>
                <a:latin typeface="微软雅黑" pitchFamily="34" charset="-122"/>
                <a:ea typeface="微软雅黑" pitchFamily="34" charset="-122"/>
              </a:rPr>
              <a:t>期刊域出版（一刊一专题）</a:t>
            </a:r>
            <a:endParaRPr lang="en-US" altLang="zh-CN" sz="2800" b="1" dirty="0">
              <a:solidFill>
                <a:srgbClr val="FFFF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68777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31000" contrast="6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585" y="1053712"/>
            <a:ext cx="2430270" cy="3452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37000" contrast="8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6997" y="1154093"/>
            <a:ext cx="907402" cy="1867502"/>
          </a:xfrm>
          <a:prstGeom prst="rect">
            <a:avLst/>
          </a:prstGeom>
          <a:noFill/>
          <a:ln w="3175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8000" contrast="8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6925" y="3449348"/>
            <a:ext cx="4500500" cy="892137"/>
          </a:xfrm>
          <a:prstGeom prst="rect">
            <a:avLst/>
          </a:prstGeom>
          <a:noFill/>
          <a:ln w="3175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182" y="89862"/>
            <a:ext cx="4902603" cy="7682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65" name="Picture 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2848" y="788006"/>
            <a:ext cx="2120376" cy="22764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12475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409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09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矩形 1"/>
          <p:cNvSpPr>
            <a:spLocks noChangeArrowheads="1"/>
          </p:cNvSpPr>
          <p:nvPr/>
        </p:nvSpPr>
        <p:spPr bwMode="auto">
          <a:xfrm>
            <a:off x="701570" y="1125242"/>
            <a:ext cx="8192910" cy="2041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4400" dirty="0" smtClean="0">
                <a:solidFill>
                  <a:srgbClr val="FFFF00"/>
                </a:solidFill>
              </a:rPr>
              <a:t>用户行为的大数据分析</a:t>
            </a:r>
            <a:endParaRPr lang="en-US" altLang="zh-CN" sz="4400" dirty="0" smtClean="0">
              <a:solidFill>
                <a:srgbClr val="FFFF00"/>
              </a:solidFill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4400" dirty="0" smtClean="0">
                <a:solidFill>
                  <a:srgbClr val="FFFF00"/>
                </a:solidFill>
              </a:rPr>
              <a:t>与图书馆学、情报学创新研究</a:t>
            </a:r>
            <a:endParaRPr lang="en-US" altLang="zh-CN" sz="44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728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矩形 1"/>
          <p:cNvSpPr>
            <a:spLocks noChangeArrowheads="1"/>
          </p:cNvSpPr>
          <p:nvPr/>
        </p:nvSpPr>
        <p:spPr bwMode="auto">
          <a:xfrm>
            <a:off x="0" y="0"/>
            <a:ext cx="1485942" cy="684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l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2400" dirty="0">
                <a:solidFill>
                  <a:srgbClr val="FFFF00"/>
                </a:solidFill>
              </a:rPr>
              <a:t>我</a:t>
            </a:r>
            <a:r>
              <a:rPr lang="zh-CN" altLang="en-US" sz="2400" dirty="0" smtClean="0">
                <a:solidFill>
                  <a:srgbClr val="FFFF00"/>
                </a:solidFill>
              </a:rPr>
              <a:t>的记忆</a:t>
            </a:r>
            <a:endParaRPr lang="en-US" altLang="zh-CN" sz="2400" dirty="0" smtClean="0">
              <a:solidFill>
                <a:srgbClr val="FFFF00"/>
              </a:solidFill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3000" contrast="9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1245" y="961660"/>
            <a:ext cx="2925325" cy="3770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3000" contrast="8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404" y="961659"/>
            <a:ext cx="2832148" cy="3770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36000" contrast="7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2181" y="919025"/>
            <a:ext cx="2837913" cy="3779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椭圆形标注 2"/>
          <p:cNvSpPr/>
          <p:nvPr/>
        </p:nvSpPr>
        <p:spPr>
          <a:xfrm>
            <a:off x="245744" y="1829168"/>
            <a:ext cx="2480397" cy="804336"/>
          </a:xfrm>
          <a:prstGeom prst="wedgeEllipseCallout">
            <a:avLst>
              <a:gd name="adj1" fmla="val -35422"/>
              <a:gd name="adj2" fmla="val 240872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叶总汇</a:t>
            </a:r>
            <a:endParaRPr lang="en-US" altLang="zh-CN" sz="2000" b="1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20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21</a:t>
            </a: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好友</a:t>
            </a:r>
            <a:endParaRPr lang="zh-CN" altLang="en-US" sz="20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椭圆形标注 9"/>
          <p:cNvSpPr/>
          <p:nvPr/>
        </p:nvSpPr>
        <p:spPr>
          <a:xfrm>
            <a:off x="3111245" y="157324"/>
            <a:ext cx="2480397" cy="804336"/>
          </a:xfrm>
          <a:prstGeom prst="wedgeEllipseCallout">
            <a:avLst>
              <a:gd name="adj1" fmla="val -23668"/>
              <a:gd name="adj2" fmla="val 130895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天一句英语</a:t>
            </a:r>
            <a:endParaRPr lang="zh-CN" altLang="en-US" sz="20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椭圆形标注 10"/>
          <p:cNvSpPr/>
          <p:nvPr/>
        </p:nvSpPr>
        <p:spPr>
          <a:xfrm>
            <a:off x="5772897" y="115121"/>
            <a:ext cx="2480397" cy="804336"/>
          </a:xfrm>
          <a:prstGeom prst="wedgeEllipseCallout">
            <a:avLst>
              <a:gd name="adj1" fmla="val 1977"/>
              <a:gd name="adj2" fmla="val 216158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的大数据</a:t>
            </a:r>
            <a:endParaRPr lang="zh-CN" altLang="en-US" sz="20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5719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5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153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0" grpId="0" animBg="1"/>
      <p:bldP spid="11" grpId="0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42901" y="546526"/>
            <a:ext cx="4379336" cy="531048"/>
          </a:xfrm>
          <a:prstGeom prst="rect">
            <a:avLst/>
          </a:prstGeom>
          <a:noFill/>
        </p:spPr>
        <p:txBody>
          <a:bodyPr wrap="square" lIns="221114" tIns="110556" rIns="221114" bIns="110556" rtlCol="0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订阅量（类似借阅量）统计</a:t>
            </a:r>
            <a:endParaRPr lang="zh-CN" altLang="en-US" sz="2000" b="1" dirty="0">
              <a:solidFill>
                <a:srgbClr val="FFFFFF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82091" y="546526"/>
            <a:ext cx="3330370" cy="531048"/>
          </a:xfrm>
          <a:prstGeom prst="rect">
            <a:avLst/>
          </a:prstGeom>
          <a:noFill/>
        </p:spPr>
        <p:txBody>
          <a:bodyPr wrap="square" lIns="221114" tIns="110556" rIns="221114" bIns="110556" rtlCol="0">
            <a:spAutoFit/>
          </a:bodyPr>
          <a:lstStyle/>
          <a:p>
            <a:r>
              <a:rPr lang="zh-CN" altLang="en-US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量（</a:t>
            </a:r>
            <a:r>
              <a:rPr lang="en-US" altLang="zh-CN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V</a:t>
            </a:r>
            <a:r>
              <a:rPr lang="zh-CN" altLang="en-US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统计</a:t>
            </a:r>
            <a:endParaRPr lang="zh-CN" altLang="en-US" sz="2000" b="1" dirty="0">
              <a:solidFill>
                <a:srgbClr val="FFFFFF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7" name="TextBox 5"/>
          <p:cNvSpPr txBox="1"/>
          <p:nvPr/>
        </p:nvSpPr>
        <p:spPr>
          <a:xfrm>
            <a:off x="245759" y="4086310"/>
            <a:ext cx="4600826" cy="531048"/>
          </a:xfrm>
          <a:prstGeom prst="rect">
            <a:avLst/>
          </a:prstGeom>
          <a:noFill/>
        </p:spPr>
        <p:txBody>
          <a:bodyPr wrap="square" lIns="221114" tIns="110556" rIns="221114" bIns="110556" rtlCol="0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度趋势统计分析         排行榜</a:t>
            </a:r>
            <a:endParaRPr lang="zh-CN" altLang="en-US" sz="2000" b="1" dirty="0">
              <a:solidFill>
                <a:srgbClr val="FFFFFF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8" name="TextBox 5"/>
          <p:cNvSpPr txBox="1"/>
          <p:nvPr/>
        </p:nvSpPr>
        <p:spPr>
          <a:xfrm>
            <a:off x="836585" y="1436769"/>
            <a:ext cx="4010000" cy="531048"/>
          </a:xfrm>
          <a:prstGeom prst="rect">
            <a:avLst/>
          </a:prstGeom>
          <a:noFill/>
        </p:spPr>
        <p:txBody>
          <a:bodyPr wrap="square" lIns="221114" tIns="110556" rIns="221114" bIns="110556" rtlCol="0">
            <a:spAutoFit/>
          </a:bodyPr>
          <a:lstStyle/>
          <a:p>
            <a:r>
              <a:rPr lang="zh-CN" altLang="en-US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阅读时长（粘着度）统计</a:t>
            </a:r>
            <a:endParaRPr lang="zh-CN" altLang="en-US" sz="2000" b="1" dirty="0">
              <a:solidFill>
                <a:srgbClr val="FFFFFF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9" name="TextBox 6"/>
          <p:cNvSpPr txBox="1"/>
          <p:nvPr/>
        </p:nvSpPr>
        <p:spPr>
          <a:xfrm>
            <a:off x="4662010" y="1436768"/>
            <a:ext cx="3626896" cy="531048"/>
          </a:xfrm>
          <a:prstGeom prst="rect">
            <a:avLst/>
          </a:prstGeom>
          <a:noFill/>
        </p:spPr>
        <p:txBody>
          <a:bodyPr wrap="square" lIns="221114" tIns="110556" rIns="221114" bIns="110556" rtlCol="0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笔记量统计</a:t>
            </a:r>
            <a:endParaRPr lang="zh-CN" altLang="en-US" sz="2000" b="1" dirty="0">
              <a:solidFill>
                <a:srgbClr val="FFFFFF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10" name="TextBox 5"/>
          <p:cNvSpPr txBox="1"/>
          <p:nvPr/>
        </p:nvSpPr>
        <p:spPr>
          <a:xfrm>
            <a:off x="1462441" y="3262767"/>
            <a:ext cx="2340261" cy="531048"/>
          </a:xfrm>
          <a:prstGeom prst="rect">
            <a:avLst/>
          </a:prstGeom>
          <a:noFill/>
        </p:spPr>
        <p:txBody>
          <a:bodyPr wrap="square" lIns="221114" tIns="110556" rIns="221114" bIns="110556" rtlCol="0">
            <a:spAutoFit/>
          </a:bodyPr>
          <a:lstStyle/>
          <a:p>
            <a:r>
              <a:rPr lang="zh-CN" altLang="en-US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度综合统计</a:t>
            </a:r>
            <a:endParaRPr lang="zh-CN" altLang="en-US" sz="2000" b="1" dirty="0">
              <a:solidFill>
                <a:srgbClr val="FFFFFF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11" name="TextBox 6"/>
          <p:cNvSpPr txBox="1"/>
          <p:nvPr/>
        </p:nvSpPr>
        <p:spPr>
          <a:xfrm>
            <a:off x="245759" y="2487885"/>
            <a:ext cx="5172738" cy="531048"/>
          </a:xfrm>
          <a:prstGeom prst="rect">
            <a:avLst/>
          </a:prstGeom>
          <a:noFill/>
        </p:spPr>
        <p:txBody>
          <a:bodyPr wrap="square" lIns="221114" tIns="110556" rIns="221114" bIns="110556" rtlCol="0">
            <a:spAutoFit/>
          </a:bodyPr>
          <a:lstStyle/>
          <a:p>
            <a:r>
              <a:rPr lang="zh-CN" altLang="en-US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同用户使用情况可视化对比分析</a:t>
            </a:r>
            <a:endParaRPr lang="zh-CN" altLang="en-US" sz="2000" b="1" dirty="0">
              <a:solidFill>
                <a:srgbClr val="FFFFFF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9000" contrast="6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8499" y="2487884"/>
            <a:ext cx="3526601" cy="2405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67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3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3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3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3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3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3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50"/>
                            </p:stCondLst>
                            <p:childTnLst>
                              <p:par>
                                <p:cTn id="3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3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850"/>
                            </p:stCondLst>
                            <p:childTnLst>
                              <p:par>
                                <p:cTn id="3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150"/>
                            </p:stCondLst>
                            <p:childTnLst>
                              <p:par>
                                <p:cTn id="4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3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  <p:bldP spid="9" grpId="0"/>
      <p:bldP spid="10" grpId="0"/>
      <p:bldP spid="11" grpId="0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文本框 27"/>
          <p:cNvSpPr txBox="1"/>
          <p:nvPr/>
        </p:nvSpPr>
        <p:spPr>
          <a:xfrm>
            <a:off x="785846" y="321502"/>
            <a:ext cx="7708900" cy="822797"/>
          </a:xfrm>
          <a:prstGeom prst="rect">
            <a:avLst/>
          </a:prstGeom>
          <a:noFill/>
        </p:spPr>
        <p:txBody>
          <a:bodyPr wrap="square" lIns="129040" tIns="64520" rIns="129040" bIns="64520" rtlCol="0">
            <a:spAutoFit/>
          </a:bodyPr>
          <a:lstStyle/>
          <a:p>
            <a:pPr marL="278148" algn="ctr">
              <a:spcBef>
                <a:spcPts val="1270"/>
              </a:spcBef>
              <a:defRPr/>
            </a:pPr>
            <a:r>
              <a:rPr lang="zh-CN" altLang="en-US" sz="45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望</a:t>
            </a:r>
            <a:endParaRPr lang="en-US" altLang="zh-CN" sz="4500" b="1" dirty="0">
              <a:solidFill>
                <a:srgbClr val="FFFF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2"/>
          <p:cNvSpPr>
            <a:spLocks noChangeArrowheads="1"/>
          </p:cNvSpPr>
          <p:nvPr/>
        </p:nvSpPr>
        <p:spPr bwMode="auto">
          <a:xfrm>
            <a:off x="284197" y="1041581"/>
            <a:ext cx="8712200" cy="4687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040" tIns="64520" rIns="129040" bIns="64520">
            <a:spAutoFit/>
          </a:bodyPr>
          <a:lstStyle/>
          <a:p>
            <a:pPr marL="278148">
              <a:spcBef>
                <a:spcPts val="1270"/>
              </a:spcBef>
              <a:buClr>
                <a:srgbClr val="FF0000"/>
              </a:buClr>
              <a:defRPr/>
            </a:pPr>
            <a:r>
              <a:rPr lang="zh-CN" altLang="en-US" sz="2800" b="1" dirty="0">
                <a:solidFill>
                  <a:srgbClr val="008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r>
              <a:rPr lang="zh-CN" altLang="en-US" sz="2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一个线下</a:t>
            </a:r>
            <a:r>
              <a:rPr lang="en-US" altLang="zh-CN" sz="2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上一体化的全时空、全终端、全网络的知识空间服务体系，必将促使图书馆服务工作从到馆为主转向网络服务为主</a:t>
            </a:r>
            <a:endParaRPr lang="en-US" altLang="zh-CN" sz="2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23348" indent="-645201" algn="ctr">
              <a:spcBef>
                <a:spcPts val="1270"/>
              </a:spcBef>
              <a:buClr>
                <a:srgbClr val="FF0000"/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2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门重构</a:t>
            </a:r>
            <a:endParaRPr lang="en-US" altLang="zh-CN" sz="2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23348" indent="-645201" algn="ctr">
              <a:spcBef>
                <a:spcPts val="1270"/>
              </a:spcBef>
              <a:buClr>
                <a:srgbClr val="FF0000"/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2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岗位重构</a:t>
            </a:r>
            <a:endParaRPr lang="en-US" altLang="zh-CN" sz="2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23348" indent="-645201" algn="ctr">
              <a:spcBef>
                <a:spcPts val="1270"/>
              </a:spcBef>
              <a:buClr>
                <a:srgbClr val="FF0000"/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2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度重构</a:t>
            </a:r>
            <a:endParaRPr lang="en-US" altLang="zh-CN" sz="2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23348" indent="-645201" algn="ctr">
              <a:spcBef>
                <a:spcPts val="1270"/>
              </a:spcBef>
              <a:buClr>
                <a:srgbClr val="FF0000"/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2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才重构</a:t>
            </a:r>
            <a:endParaRPr lang="en-US" altLang="zh-CN" sz="2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23348" indent="-645201">
              <a:spcBef>
                <a:spcPts val="1270"/>
              </a:spcBef>
              <a:buClr>
                <a:srgbClr val="FF0000"/>
              </a:buClr>
              <a:buFont typeface="Wingdings" panose="05000000000000000000" pitchFamily="2" charset="2"/>
              <a:buChar char="l"/>
              <a:defRPr/>
            </a:pPr>
            <a:endParaRPr lang="en-US" altLang="zh-CN" sz="2800" b="1" dirty="0">
              <a:solidFill>
                <a:srgbClr val="008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Clr>
                <a:srgbClr val="FF0000"/>
              </a:buClr>
              <a:buFont typeface="Arial" panose="020B0604020202020204" pitchFamily="34" charset="0"/>
              <a:buNone/>
              <a:defRPr/>
            </a:pPr>
            <a:endParaRPr lang="en-US" altLang="zh-CN" sz="1800" b="1" dirty="0">
              <a:solidFill>
                <a:srgbClr val="008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0125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rism isContent="1" isInverted="1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882" y="1446626"/>
            <a:ext cx="8796947" cy="2803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矩形 1"/>
          <p:cNvSpPr>
            <a:spLocks noChangeArrowheads="1"/>
          </p:cNvSpPr>
          <p:nvPr/>
        </p:nvSpPr>
        <p:spPr bwMode="auto">
          <a:xfrm>
            <a:off x="476835" y="241262"/>
            <a:ext cx="8192910" cy="947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15155" tIns="57578" rIns="115155" bIns="57578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3600" dirty="0">
                <a:solidFill>
                  <a:srgbClr val="FFFF00"/>
                </a:solidFill>
              </a:rPr>
              <a:t>基于空间的新型图书馆知识服务体系</a:t>
            </a:r>
          </a:p>
        </p:txBody>
      </p:sp>
    </p:spTree>
    <p:extLst>
      <p:ext uri="{BB962C8B-B14F-4D97-AF65-F5344CB8AC3E}">
        <p14:creationId xmlns:p14="http://schemas.microsoft.com/office/powerpoint/2010/main" val="2097801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3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6849" y="1795414"/>
            <a:ext cx="3260231" cy="12069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4435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>
            <a:spLocks noChangeArrowheads="1"/>
          </p:cNvSpPr>
          <p:nvPr/>
        </p:nvSpPr>
        <p:spPr bwMode="auto">
          <a:xfrm>
            <a:off x="3960106" y="2481682"/>
            <a:ext cx="2692739" cy="608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15208" tIns="57604" rIns="115208" bIns="57604">
            <a:spAutoFit/>
          </a:bodyPr>
          <a:lstStyle>
            <a:lvl1pPr algn="ctr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zh-CN" altLang="en-US" i="1" dirty="0" smtClean="0">
                <a:solidFill>
                  <a:srgbClr val="FFB3B5"/>
                </a:solidFill>
              </a:rPr>
              <a:t>入馆教育</a:t>
            </a:r>
            <a:endParaRPr lang="zh-CN" altLang="en-US" i="1" dirty="0">
              <a:solidFill>
                <a:srgbClr val="FFB3B5"/>
              </a:solidFill>
            </a:endParaRPr>
          </a:p>
        </p:txBody>
      </p:sp>
      <p:sp>
        <p:nvSpPr>
          <p:cNvPr id="4" name="矩形 2"/>
          <p:cNvSpPr>
            <a:spLocks noChangeArrowheads="1"/>
          </p:cNvSpPr>
          <p:nvPr/>
        </p:nvSpPr>
        <p:spPr bwMode="auto">
          <a:xfrm>
            <a:off x="828662" y="1201121"/>
            <a:ext cx="1727200" cy="731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5208" tIns="57604" rIns="115208" bIns="57604">
            <a:spAutoFit/>
          </a:bodyPr>
          <a:lstStyle>
            <a:lvl1pPr algn="ctr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US" altLang="zh-CN" sz="4000" i="1" dirty="0"/>
              <a:t>OPAC</a:t>
            </a:r>
            <a:endParaRPr lang="zh-CN" altLang="en-US" sz="4000" i="1" dirty="0"/>
          </a:p>
        </p:txBody>
      </p:sp>
      <p:sp>
        <p:nvSpPr>
          <p:cNvPr id="8" name="矩形 2"/>
          <p:cNvSpPr>
            <a:spLocks noChangeArrowheads="1"/>
          </p:cNvSpPr>
          <p:nvPr/>
        </p:nvSpPr>
        <p:spPr bwMode="auto">
          <a:xfrm>
            <a:off x="3258090" y="1262676"/>
            <a:ext cx="4725987" cy="639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5208" tIns="57604" rIns="115208" bIns="57604">
            <a:spAutoFit/>
          </a:bodyPr>
          <a:lstStyle>
            <a:lvl1pPr algn="ctr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3400" i="1" dirty="0"/>
              <a:t>学科服务</a:t>
            </a:r>
          </a:p>
        </p:txBody>
      </p:sp>
      <p:sp>
        <p:nvSpPr>
          <p:cNvPr id="10" name="矩形 2"/>
          <p:cNvSpPr>
            <a:spLocks noChangeArrowheads="1"/>
          </p:cNvSpPr>
          <p:nvPr/>
        </p:nvSpPr>
        <p:spPr bwMode="auto">
          <a:xfrm>
            <a:off x="1601670" y="2945746"/>
            <a:ext cx="2808484" cy="501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15208" tIns="57604" rIns="115208" bIns="57604">
            <a:spAutoFit/>
          </a:bodyPr>
          <a:lstStyle>
            <a:lvl1pPr algn="ctr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2500" i="1" dirty="0">
                <a:solidFill>
                  <a:srgbClr val="00FF00"/>
                </a:solidFill>
              </a:rPr>
              <a:t>参考咨询</a:t>
            </a:r>
          </a:p>
        </p:txBody>
      </p:sp>
      <p:sp>
        <p:nvSpPr>
          <p:cNvPr id="11" name="矩形 2"/>
          <p:cNvSpPr>
            <a:spLocks noChangeArrowheads="1"/>
          </p:cNvSpPr>
          <p:nvPr/>
        </p:nvSpPr>
        <p:spPr bwMode="auto">
          <a:xfrm>
            <a:off x="3396713" y="3474788"/>
            <a:ext cx="1898485" cy="731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15208" tIns="57604" rIns="115208" bIns="57604">
            <a:spAutoFit/>
          </a:bodyPr>
          <a:lstStyle>
            <a:lvl1pPr algn="ctr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zh-CN" altLang="en-US" sz="4000" i="1" dirty="0">
                <a:solidFill>
                  <a:srgbClr val="00B0F0"/>
                </a:solidFill>
              </a:rPr>
              <a:t>特色库</a:t>
            </a:r>
          </a:p>
        </p:txBody>
      </p:sp>
      <p:sp>
        <p:nvSpPr>
          <p:cNvPr id="9" name="矩形 8"/>
          <p:cNvSpPr>
            <a:spLocks noChangeArrowheads="1"/>
          </p:cNvSpPr>
          <p:nvPr/>
        </p:nvSpPr>
        <p:spPr bwMode="auto">
          <a:xfrm>
            <a:off x="6282190" y="3400888"/>
            <a:ext cx="1859078" cy="1039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15208" tIns="57604" rIns="115208" bIns="57604">
            <a:spAutoFit/>
          </a:bodyPr>
          <a:lstStyle>
            <a:lvl1pPr algn="ctr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zh-CN" altLang="en-US" sz="6000" i="1" dirty="0">
                <a:solidFill>
                  <a:srgbClr val="E2E56D"/>
                </a:solidFill>
                <a:latin typeface="Arial" pitchFamily="34" charset="0"/>
                <a:ea typeface="宋体" pitchFamily="2" charset="-122"/>
              </a:rPr>
              <a:t>查新</a:t>
            </a:r>
          </a:p>
        </p:txBody>
      </p:sp>
      <p:sp>
        <p:nvSpPr>
          <p:cNvPr id="12" name="矩形 11"/>
          <p:cNvSpPr>
            <a:spLocks noChangeArrowheads="1"/>
          </p:cNvSpPr>
          <p:nvPr/>
        </p:nvSpPr>
        <p:spPr bwMode="auto">
          <a:xfrm>
            <a:off x="6124999" y="2769122"/>
            <a:ext cx="1859078" cy="54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15208" tIns="57604" rIns="115208" bIns="57604">
            <a:spAutoFit/>
          </a:bodyPr>
          <a:lstStyle>
            <a:lvl1pPr algn="ctr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zh-CN" altLang="en-US" sz="2800" i="1" dirty="0">
                <a:solidFill>
                  <a:srgbClr val="CCCCFF"/>
                </a:solidFill>
              </a:rPr>
              <a:t>定题服务</a:t>
            </a:r>
          </a:p>
        </p:txBody>
      </p:sp>
      <p:sp>
        <p:nvSpPr>
          <p:cNvPr id="13" name="矩形 12"/>
          <p:cNvSpPr>
            <a:spLocks noChangeArrowheads="1"/>
          </p:cNvSpPr>
          <p:nvPr/>
        </p:nvSpPr>
        <p:spPr bwMode="auto">
          <a:xfrm>
            <a:off x="1421652" y="3616331"/>
            <a:ext cx="2745305" cy="54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15208" tIns="57604" rIns="115208" bIns="57604">
            <a:spAutoFit/>
          </a:bodyPr>
          <a:lstStyle>
            <a:lvl1pPr algn="ctr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zh-CN" altLang="en-US" sz="2800" i="1" dirty="0">
                <a:solidFill>
                  <a:srgbClr val="E2E56D"/>
                </a:solidFill>
              </a:rPr>
              <a:t>专题推送</a:t>
            </a:r>
          </a:p>
        </p:txBody>
      </p:sp>
      <p:sp>
        <p:nvSpPr>
          <p:cNvPr id="14" name="矩形 13"/>
          <p:cNvSpPr>
            <a:spLocks noChangeArrowheads="1"/>
          </p:cNvSpPr>
          <p:nvPr/>
        </p:nvSpPr>
        <p:spPr bwMode="auto">
          <a:xfrm>
            <a:off x="658486" y="2265129"/>
            <a:ext cx="3373455" cy="731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15208" tIns="57604" rIns="115208" bIns="57604">
            <a:spAutoFit/>
          </a:bodyPr>
          <a:lstStyle>
            <a:lvl1pPr algn="ctr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zh-CN" altLang="en-US" sz="4000" i="1" dirty="0">
                <a:solidFill>
                  <a:srgbClr val="FF0000"/>
                </a:solidFill>
              </a:rPr>
              <a:t>信息检索课</a:t>
            </a:r>
          </a:p>
        </p:txBody>
      </p:sp>
      <p:sp>
        <p:nvSpPr>
          <p:cNvPr id="15" name="矩形 14"/>
          <p:cNvSpPr>
            <a:spLocks noChangeArrowheads="1"/>
          </p:cNvSpPr>
          <p:nvPr/>
        </p:nvSpPr>
        <p:spPr bwMode="auto">
          <a:xfrm>
            <a:off x="6912260" y="810909"/>
            <a:ext cx="1859078" cy="639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15208" tIns="57604" rIns="115208" bIns="57604">
            <a:spAutoFit/>
          </a:bodyPr>
          <a:lstStyle>
            <a:lvl1pPr algn="ctr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zh-CN" altLang="en-US" sz="3400" i="1" dirty="0">
                <a:solidFill>
                  <a:srgbClr val="FFC000"/>
                </a:solidFill>
              </a:rPr>
              <a:t>目录</a:t>
            </a:r>
          </a:p>
        </p:txBody>
      </p:sp>
      <p:sp>
        <p:nvSpPr>
          <p:cNvPr id="18" name="矩形 17"/>
          <p:cNvSpPr>
            <a:spLocks noChangeArrowheads="1"/>
          </p:cNvSpPr>
          <p:nvPr/>
        </p:nvSpPr>
        <p:spPr bwMode="auto">
          <a:xfrm>
            <a:off x="5940153" y="1914943"/>
            <a:ext cx="2875355" cy="731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15208" tIns="57604" rIns="115208" bIns="57604">
            <a:spAutoFit/>
          </a:bodyPr>
          <a:lstStyle/>
          <a:p>
            <a:pPr>
              <a:spcBef>
                <a:spcPct val="0"/>
              </a:spcBef>
            </a:pPr>
            <a:r>
              <a:rPr lang="zh-CN" altLang="en-US" sz="4000" b="1" i="1" dirty="0">
                <a:solidFill>
                  <a:srgbClr val="FF6600"/>
                </a:solidFill>
                <a:latin typeface="微软雅黑" pitchFamily="34" charset="-122"/>
                <a:ea typeface="微软雅黑" pitchFamily="34" charset="-122"/>
              </a:rPr>
              <a:t>数据库培训</a:t>
            </a:r>
          </a:p>
        </p:txBody>
      </p:sp>
      <p:sp>
        <p:nvSpPr>
          <p:cNvPr id="20" name="矩形 19"/>
          <p:cNvSpPr>
            <a:spLocks noChangeArrowheads="1"/>
          </p:cNvSpPr>
          <p:nvPr/>
        </p:nvSpPr>
        <p:spPr bwMode="auto">
          <a:xfrm>
            <a:off x="2288639" y="1408112"/>
            <a:ext cx="2216149" cy="748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54041" tIns="127021" rIns="254041" bIns="127021">
            <a:spAutoFit/>
          </a:bodyPr>
          <a:lstStyle>
            <a:lvl1pPr algn="ctr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zh-CN" altLang="en-US" i="1" dirty="0">
                <a:solidFill>
                  <a:srgbClr val="FF21FF"/>
                </a:solidFill>
              </a:rPr>
              <a:t>借阅服务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89" b="19665"/>
          <a:stretch/>
        </p:blipFill>
        <p:spPr bwMode="auto">
          <a:xfrm>
            <a:off x="304352" y="112394"/>
            <a:ext cx="1907907" cy="831505"/>
          </a:xfrm>
          <a:prstGeom prst="rect">
            <a:avLst/>
          </a:prstGeom>
          <a:noFill/>
          <a:ln w="38100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12992283"/>
      </p:ext>
    </p:ext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"/>
                            </p:stCondLst>
                            <p:childTnLst>
                              <p:par>
                                <p:cTn id="17" presetID="47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950"/>
                            </p:stCondLst>
                            <p:childTnLst>
                              <p:par>
                                <p:cTn id="23" presetID="47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300"/>
                            </p:stCondLst>
                            <p:childTnLst>
                              <p:par>
                                <p:cTn id="29" presetID="47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650"/>
                            </p:stCondLst>
                            <p:childTnLst>
                              <p:par>
                                <p:cTn id="3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750"/>
                            </p:stCondLst>
                            <p:childTnLst>
                              <p:par>
                                <p:cTn id="41" presetID="47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100"/>
                            </p:stCondLst>
                            <p:childTnLst>
                              <p:par>
                                <p:cTn id="47" presetID="47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450"/>
                            </p:stCondLst>
                            <p:childTnLst>
                              <p:par>
                                <p:cTn id="53" presetID="47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800"/>
                            </p:stCondLst>
                            <p:childTnLst>
                              <p:par>
                                <p:cTn id="59" presetID="47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150"/>
                            </p:stCondLst>
                            <p:childTnLst>
                              <p:par>
                                <p:cTn id="65" presetID="47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3500"/>
                            </p:stCondLst>
                            <p:childTnLst>
                              <p:par>
                                <p:cTn id="71" presetID="47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8" grpId="0"/>
      <p:bldP spid="10" grpId="0"/>
      <p:bldP spid="11" grpId="0"/>
      <p:bldP spid="9" grpId="0"/>
      <p:bldP spid="12" grpId="0"/>
      <p:bldP spid="13" grpId="0"/>
      <p:bldP spid="14" grpId="0"/>
      <p:bldP spid="15" grpId="0"/>
      <p:bldP spid="18" grpId="0"/>
      <p:bldP spid="2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矩形 1"/>
          <p:cNvSpPr>
            <a:spLocks noChangeArrowheads="1"/>
          </p:cNvSpPr>
          <p:nvPr/>
        </p:nvSpPr>
        <p:spPr bwMode="auto">
          <a:xfrm>
            <a:off x="689145" y="681541"/>
            <a:ext cx="8192910" cy="3084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8988" tIns="64495" rIns="128988" bIns="64495">
            <a:spAutoFit/>
          </a:bodyPr>
          <a:lstStyle>
            <a:lvl1pPr algn="ctr" eaLnBrk="0" hangingPunct="0">
              <a:spcBef>
                <a:spcPct val="20000"/>
              </a:spcBef>
              <a:buFont typeface="Arial" pitchFamily="34" charset="0"/>
              <a:buChar char="•"/>
              <a:defRPr sz="32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algn="ctr" eaLnBrk="0" hangingPunct="0">
              <a:spcBef>
                <a:spcPct val="20000"/>
              </a:spcBef>
              <a:buFont typeface="Arial" pitchFamily="34" charset="0"/>
              <a:buChar char="–"/>
              <a:defRPr sz="28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algn="ctr" eaLnBrk="0" hangingPunct="0">
              <a:spcBef>
                <a:spcPct val="20000"/>
              </a:spcBef>
              <a:buFont typeface="Arial" pitchFamily="34" charset="0"/>
              <a:buChar char="•"/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algn="ctr" eaLnBrk="0" hangingPunct="0">
              <a:spcBef>
                <a:spcPct val="20000"/>
              </a:spcBef>
              <a:buFont typeface="Arial" pitchFamily="34" charset="0"/>
              <a:buChar char="–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algn="ctr" eaLnBrk="0" hangingPunct="0">
              <a:spcBef>
                <a:spcPct val="20000"/>
              </a:spcBef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4800" dirty="0" smtClean="0">
                <a:solidFill>
                  <a:srgbClr val="FFFF00"/>
                </a:solidFill>
              </a:rPr>
              <a:t>问题</a:t>
            </a:r>
            <a:endParaRPr lang="en-US" altLang="zh-CN" sz="4800" dirty="0" smtClean="0">
              <a:solidFill>
                <a:srgbClr val="FFFF00"/>
              </a:solidFill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4000" dirty="0"/>
              <a:t>单线程，缺乏交互</a:t>
            </a:r>
            <a:endParaRPr lang="en-US" altLang="zh-CN" sz="4000" dirty="0"/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None/>
            </a:pPr>
            <a:r>
              <a:rPr lang="zh-CN" altLang="en-US" sz="4000" dirty="0"/>
              <a:t>受众少，难以普及</a:t>
            </a:r>
          </a:p>
        </p:txBody>
      </p:sp>
    </p:spTree>
    <p:extLst>
      <p:ext uri="{BB962C8B-B14F-4D97-AF65-F5344CB8AC3E}">
        <p14:creationId xmlns:p14="http://schemas.microsoft.com/office/powerpoint/2010/main" val="797718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7" name="KSO_Shape"/>
          <p:cNvSpPr>
            <a:spLocks/>
          </p:cNvSpPr>
          <p:nvPr/>
        </p:nvSpPr>
        <p:spPr bwMode="auto">
          <a:xfrm>
            <a:off x="57150" y="1966914"/>
            <a:ext cx="1593850" cy="1036638"/>
          </a:xfrm>
          <a:custGeom>
            <a:avLst/>
            <a:gdLst>
              <a:gd name="T0" fmla="*/ 2147483647 w 2758"/>
              <a:gd name="T1" fmla="*/ 2147483647 h 1666"/>
              <a:gd name="T2" fmla="*/ 2147483647 w 2758"/>
              <a:gd name="T3" fmla="*/ 2147483647 h 1666"/>
              <a:gd name="T4" fmla="*/ 2147483647 w 2758"/>
              <a:gd name="T5" fmla="*/ 2147483647 h 1666"/>
              <a:gd name="T6" fmla="*/ 2147483647 w 2758"/>
              <a:gd name="T7" fmla="*/ 2147483647 h 1666"/>
              <a:gd name="T8" fmla="*/ 2147483647 w 2758"/>
              <a:gd name="T9" fmla="*/ 2147483647 h 1666"/>
              <a:gd name="T10" fmla="*/ 2147483647 w 2758"/>
              <a:gd name="T11" fmla="*/ 2147483647 h 1666"/>
              <a:gd name="T12" fmla="*/ 2147483647 w 2758"/>
              <a:gd name="T13" fmla="*/ 2147483647 h 1666"/>
              <a:gd name="T14" fmla="*/ 2147483647 w 2758"/>
              <a:gd name="T15" fmla="*/ 2147483647 h 1666"/>
              <a:gd name="T16" fmla="*/ 2147483647 w 2758"/>
              <a:gd name="T17" fmla="*/ 2147483647 h 1666"/>
              <a:gd name="T18" fmla="*/ 2147483647 w 2758"/>
              <a:gd name="T19" fmla="*/ 2147483647 h 1666"/>
              <a:gd name="T20" fmla="*/ 2147483647 w 2758"/>
              <a:gd name="T21" fmla="*/ 2147483647 h 1666"/>
              <a:gd name="T22" fmla="*/ 2147483647 w 2758"/>
              <a:gd name="T23" fmla="*/ 2147483647 h 1666"/>
              <a:gd name="T24" fmla="*/ 2147483647 w 2758"/>
              <a:gd name="T25" fmla="*/ 2147483647 h 1666"/>
              <a:gd name="T26" fmla="*/ 2147483647 w 2758"/>
              <a:gd name="T27" fmla="*/ 2147483647 h 1666"/>
              <a:gd name="T28" fmla="*/ 2147483647 w 2758"/>
              <a:gd name="T29" fmla="*/ 2147483647 h 1666"/>
              <a:gd name="T30" fmla="*/ 2147483647 w 2758"/>
              <a:gd name="T31" fmla="*/ 2147483647 h 1666"/>
              <a:gd name="T32" fmla="*/ 2147483647 w 2758"/>
              <a:gd name="T33" fmla="*/ 2147483647 h 1666"/>
              <a:gd name="T34" fmla="*/ 2147483647 w 2758"/>
              <a:gd name="T35" fmla="*/ 2147483647 h 1666"/>
              <a:gd name="T36" fmla="*/ 2147483647 w 2758"/>
              <a:gd name="T37" fmla="*/ 2147483647 h 1666"/>
              <a:gd name="T38" fmla="*/ 2147483647 w 2758"/>
              <a:gd name="T39" fmla="*/ 2147483647 h 1666"/>
              <a:gd name="T40" fmla="*/ 2147483647 w 2758"/>
              <a:gd name="T41" fmla="*/ 2147483647 h 1666"/>
              <a:gd name="T42" fmla="*/ 2147483647 w 2758"/>
              <a:gd name="T43" fmla="*/ 2147483647 h 1666"/>
              <a:gd name="T44" fmla="*/ 2147483647 w 2758"/>
              <a:gd name="T45" fmla="*/ 2147483647 h 1666"/>
              <a:gd name="T46" fmla="*/ 2147483647 w 2758"/>
              <a:gd name="T47" fmla="*/ 2147483647 h 1666"/>
              <a:gd name="T48" fmla="*/ 2147483647 w 2758"/>
              <a:gd name="T49" fmla="*/ 2147483647 h 1666"/>
              <a:gd name="T50" fmla="*/ 2147483647 w 2758"/>
              <a:gd name="T51" fmla="*/ 2147483647 h 1666"/>
              <a:gd name="T52" fmla="*/ 2147483647 w 2758"/>
              <a:gd name="T53" fmla="*/ 2147483647 h 1666"/>
              <a:gd name="T54" fmla="*/ 2147483647 w 2758"/>
              <a:gd name="T55" fmla="*/ 2147483647 h 1666"/>
              <a:gd name="T56" fmla="*/ 2147483647 w 2758"/>
              <a:gd name="T57" fmla="*/ 2147483647 h 1666"/>
              <a:gd name="T58" fmla="*/ 2147483647 w 2758"/>
              <a:gd name="T59" fmla="*/ 2147483647 h 1666"/>
              <a:gd name="T60" fmla="*/ 2147483647 w 2758"/>
              <a:gd name="T61" fmla="*/ 2147483647 h 1666"/>
              <a:gd name="T62" fmla="*/ 2147483647 w 2758"/>
              <a:gd name="T63" fmla="*/ 2147483647 h 1666"/>
              <a:gd name="T64" fmla="*/ 2147483647 w 2758"/>
              <a:gd name="T65" fmla="*/ 2147483647 h 1666"/>
              <a:gd name="T66" fmla="*/ 2147483647 w 2758"/>
              <a:gd name="T67" fmla="*/ 2147483647 h 1666"/>
              <a:gd name="T68" fmla="*/ 2147483647 w 2758"/>
              <a:gd name="T69" fmla="*/ 2147483647 h 1666"/>
              <a:gd name="T70" fmla="*/ 2147483647 w 2758"/>
              <a:gd name="T71" fmla="*/ 2147483647 h 1666"/>
              <a:gd name="T72" fmla="*/ 2147483647 w 2758"/>
              <a:gd name="T73" fmla="*/ 2147483647 h 1666"/>
              <a:gd name="T74" fmla="*/ 2147483647 w 2758"/>
              <a:gd name="T75" fmla="*/ 2147483647 h 1666"/>
              <a:gd name="T76" fmla="*/ 2147483647 w 2758"/>
              <a:gd name="T77" fmla="*/ 2147483647 h 1666"/>
              <a:gd name="T78" fmla="*/ 2147483647 w 2758"/>
              <a:gd name="T79" fmla="*/ 2147483647 h 1666"/>
              <a:gd name="T80" fmla="*/ 2147483647 w 2758"/>
              <a:gd name="T81" fmla="*/ 2147483647 h 1666"/>
              <a:gd name="T82" fmla="*/ 2147483647 w 2758"/>
              <a:gd name="T83" fmla="*/ 2147483647 h 1666"/>
              <a:gd name="T84" fmla="*/ 2147483647 w 2758"/>
              <a:gd name="T85" fmla="*/ 2147483647 h 1666"/>
              <a:gd name="T86" fmla="*/ 2147483647 w 2758"/>
              <a:gd name="T87" fmla="*/ 2147483647 h 1666"/>
              <a:gd name="T88" fmla="*/ 2147483647 w 2758"/>
              <a:gd name="T89" fmla="*/ 2147483647 h 1666"/>
              <a:gd name="T90" fmla="*/ 2147483647 w 2758"/>
              <a:gd name="T91" fmla="*/ 2147483647 h 1666"/>
              <a:gd name="T92" fmla="*/ 2147483647 w 2758"/>
              <a:gd name="T93" fmla="*/ 2147483647 h 1666"/>
              <a:gd name="T94" fmla="*/ 2147483647 w 2758"/>
              <a:gd name="T95" fmla="*/ 2147483647 h 1666"/>
              <a:gd name="T96" fmla="*/ 2147483647 w 2758"/>
              <a:gd name="T97" fmla="*/ 2147483647 h 1666"/>
              <a:gd name="T98" fmla="*/ 2147483647 w 2758"/>
              <a:gd name="T99" fmla="*/ 2147483647 h 1666"/>
              <a:gd name="T100" fmla="*/ 2147483647 w 2758"/>
              <a:gd name="T101" fmla="*/ 2147483647 h 1666"/>
              <a:gd name="T102" fmla="*/ 2147483647 w 2758"/>
              <a:gd name="T103" fmla="*/ 2147483647 h 1666"/>
              <a:gd name="T104" fmla="*/ 2147483647 w 2758"/>
              <a:gd name="T105" fmla="*/ 2147483647 h 1666"/>
              <a:gd name="T106" fmla="*/ 2147483647 w 2758"/>
              <a:gd name="T107" fmla="*/ 2147483647 h 1666"/>
              <a:gd name="T108" fmla="*/ 2147483647 w 2758"/>
              <a:gd name="T109" fmla="*/ 2147483647 h 1666"/>
              <a:gd name="T110" fmla="*/ 2147483647 w 2758"/>
              <a:gd name="T111" fmla="*/ 2147483647 h 1666"/>
              <a:gd name="T112" fmla="*/ 2147483647 w 2758"/>
              <a:gd name="T113" fmla="*/ 2147483647 h 1666"/>
              <a:gd name="T114" fmla="*/ 2147483647 w 2758"/>
              <a:gd name="T115" fmla="*/ 2147483647 h 1666"/>
              <a:gd name="T116" fmla="*/ 2147483647 w 2758"/>
              <a:gd name="T117" fmla="*/ 2147483647 h 1666"/>
              <a:gd name="T118" fmla="*/ 2147483647 w 2758"/>
              <a:gd name="T119" fmla="*/ 2147483647 h 1666"/>
              <a:gd name="T120" fmla="*/ 2147483647 w 2758"/>
              <a:gd name="T121" fmla="*/ 2147483647 h 1666"/>
              <a:gd name="T122" fmla="*/ 2147483647 w 2758"/>
              <a:gd name="T123" fmla="*/ 2147483647 h 166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758"/>
              <a:gd name="T187" fmla="*/ 0 h 1666"/>
              <a:gd name="T188" fmla="*/ 2758 w 2758"/>
              <a:gd name="T189" fmla="*/ 1666 h 166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758" h="1666">
                <a:moveTo>
                  <a:pt x="931" y="1269"/>
                </a:moveTo>
                <a:lnTo>
                  <a:pt x="895" y="1297"/>
                </a:lnTo>
                <a:lnTo>
                  <a:pt x="864" y="1328"/>
                </a:lnTo>
                <a:lnTo>
                  <a:pt x="839" y="1359"/>
                </a:lnTo>
                <a:lnTo>
                  <a:pt x="816" y="1392"/>
                </a:lnTo>
                <a:lnTo>
                  <a:pt x="1102" y="1555"/>
                </a:lnTo>
                <a:lnTo>
                  <a:pt x="1172" y="1557"/>
                </a:lnTo>
                <a:lnTo>
                  <a:pt x="1210" y="1555"/>
                </a:lnTo>
                <a:lnTo>
                  <a:pt x="1243" y="1547"/>
                </a:lnTo>
                <a:lnTo>
                  <a:pt x="1269" y="1535"/>
                </a:lnTo>
                <a:lnTo>
                  <a:pt x="1293" y="1518"/>
                </a:lnTo>
                <a:lnTo>
                  <a:pt x="1310" y="1495"/>
                </a:lnTo>
                <a:lnTo>
                  <a:pt x="1323" y="1466"/>
                </a:lnTo>
                <a:lnTo>
                  <a:pt x="1331" y="1434"/>
                </a:lnTo>
                <a:lnTo>
                  <a:pt x="1333" y="1397"/>
                </a:lnTo>
                <a:lnTo>
                  <a:pt x="1164" y="1397"/>
                </a:lnTo>
                <a:lnTo>
                  <a:pt x="931" y="1269"/>
                </a:lnTo>
                <a:close/>
                <a:moveTo>
                  <a:pt x="1060" y="975"/>
                </a:moveTo>
                <a:lnTo>
                  <a:pt x="1026" y="983"/>
                </a:lnTo>
                <a:lnTo>
                  <a:pt x="993" y="992"/>
                </a:lnTo>
                <a:lnTo>
                  <a:pt x="964" y="1006"/>
                </a:lnTo>
                <a:lnTo>
                  <a:pt x="937" y="1021"/>
                </a:lnTo>
                <a:lnTo>
                  <a:pt x="912" y="1040"/>
                </a:lnTo>
                <a:lnTo>
                  <a:pt x="891" y="1061"/>
                </a:lnTo>
                <a:lnTo>
                  <a:pt x="872" y="1084"/>
                </a:lnTo>
                <a:lnTo>
                  <a:pt x="855" y="1111"/>
                </a:lnTo>
                <a:lnTo>
                  <a:pt x="1195" y="1292"/>
                </a:lnTo>
                <a:lnTo>
                  <a:pt x="1352" y="1296"/>
                </a:lnTo>
                <a:lnTo>
                  <a:pt x="1392" y="1294"/>
                </a:lnTo>
                <a:lnTo>
                  <a:pt x="1427" y="1288"/>
                </a:lnTo>
                <a:lnTo>
                  <a:pt x="1456" y="1276"/>
                </a:lnTo>
                <a:lnTo>
                  <a:pt x="1481" y="1263"/>
                </a:lnTo>
                <a:lnTo>
                  <a:pt x="1500" y="1244"/>
                </a:lnTo>
                <a:lnTo>
                  <a:pt x="1513" y="1221"/>
                </a:lnTo>
                <a:lnTo>
                  <a:pt x="1521" y="1192"/>
                </a:lnTo>
                <a:lnTo>
                  <a:pt x="1523" y="1161"/>
                </a:lnTo>
                <a:lnTo>
                  <a:pt x="1521" y="1142"/>
                </a:lnTo>
                <a:lnTo>
                  <a:pt x="1517" y="1121"/>
                </a:lnTo>
                <a:lnTo>
                  <a:pt x="1510" y="1096"/>
                </a:lnTo>
                <a:lnTo>
                  <a:pt x="1498" y="1071"/>
                </a:lnTo>
                <a:lnTo>
                  <a:pt x="1241" y="1075"/>
                </a:lnTo>
                <a:lnTo>
                  <a:pt x="1060" y="975"/>
                </a:lnTo>
                <a:close/>
                <a:moveTo>
                  <a:pt x="1137" y="668"/>
                </a:moveTo>
                <a:lnTo>
                  <a:pt x="1104" y="670"/>
                </a:lnTo>
                <a:lnTo>
                  <a:pt x="1074" y="676"/>
                </a:lnTo>
                <a:lnTo>
                  <a:pt x="1047" y="687"/>
                </a:lnTo>
                <a:lnTo>
                  <a:pt x="1020" y="702"/>
                </a:lnTo>
                <a:lnTo>
                  <a:pt x="997" y="722"/>
                </a:lnTo>
                <a:lnTo>
                  <a:pt x="976" y="745"/>
                </a:lnTo>
                <a:lnTo>
                  <a:pt x="954" y="772"/>
                </a:lnTo>
                <a:lnTo>
                  <a:pt x="937" y="804"/>
                </a:lnTo>
                <a:lnTo>
                  <a:pt x="1269" y="969"/>
                </a:lnTo>
                <a:lnTo>
                  <a:pt x="1454" y="971"/>
                </a:lnTo>
                <a:lnTo>
                  <a:pt x="1502" y="969"/>
                </a:lnTo>
                <a:lnTo>
                  <a:pt x="1542" y="962"/>
                </a:lnTo>
                <a:lnTo>
                  <a:pt x="1579" y="952"/>
                </a:lnTo>
                <a:lnTo>
                  <a:pt x="1608" y="937"/>
                </a:lnTo>
                <a:lnTo>
                  <a:pt x="1631" y="916"/>
                </a:lnTo>
                <a:lnTo>
                  <a:pt x="1646" y="893"/>
                </a:lnTo>
                <a:lnTo>
                  <a:pt x="1656" y="864"/>
                </a:lnTo>
                <a:lnTo>
                  <a:pt x="1659" y="833"/>
                </a:lnTo>
                <a:lnTo>
                  <a:pt x="1657" y="810"/>
                </a:lnTo>
                <a:lnTo>
                  <a:pt x="1650" y="789"/>
                </a:lnTo>
                <a:lnTo>
                  <a:pt x="1640" y="772"/>
                </a:lnTo>
                <a:lnTo>
                  <a:pt x="1625" y="758"/>
                </a:lnTo>
                <a:lnTo>
                  <a:pt x="1604" y="749"/>
                </a:lnTo>
                <a:lnTo>
                  <a:pt x="1579" y="741"/>
                </a:lnTo>
                <a:lnTo>
                  <a:pt x="1550" y="735"/>
                </a:lnTo>
                <a:lnTo>
                  <a:pt x="1517" y="733"/>
                </a:lnTo>
                <a:lnTo>
                  <a:pt x="1293" y="733"/>
                </a:lnTo>
                <a:lnTo>
                  <a:pt x="1273" y="718"/>
                </a:lnTo>
                <a:lnTo>
                  <a:pt x="1254" y="704"/>
                </a:lnTo>
                <a:lnTo>
                  <a:pt x="1233" y="693"/>
                </a:lnTo>
                <a:lnTo>
                  <a:pt x="1214" y="683"/>
                </a:lnTo>
                <a:lnTo>
                  <a:pt x="1195" y="678"/>
                </a:lnTo>
                <a:lnTo>
                  <a:pt x="1175" y="672"/>
                </a:lnTo>
                <a:lnTo>
                  <a:pt x="1156" y="668"/>
                </a:lnTo>
                <a:lnTo>
                  <a:pt x="1137" y="668"/>
                </a:lnTo>
                <a:close/>
                <a:moveTo>
                  <a:pt x="1694" y="240"/>
                </a:moveTo>
                <a:lnTo>
                  <a:pt x="1898" y="466"/>
                </a:lnTo>
                <a:lnTo>
                  <a:pt x="1874" y="497"/>
                </a:lnTo>
                <a:lnTo>
                  <a:pt x="1855" y="520"/>
                </a:lnTo>
                <a:lnTo>
                  <a:pt x="2251" y="518"/>
                </a:lnTo>
                <a:lnTo>
                  <a:pt x="2303" y="516"/>
                </a:lnTo>
                <a:lnTo>
                  <a:pt x="2351" y="516"/>
                </a:lnTo>
                <a:lnTo>
                  <a:pt x="2395" y="512"/>
                </a:lnTo>
                <a:lnTo>
                  <a:pt x="2435" y="511"/>
                </a:lnTo>
                <a:lnTo>
                  <a:pt x="2474" y="505"/>
                </a:lnTo>
                <a:lnTo>
                  <a:pt x="2508" y="501"/>
                </a:lnTo>
                <a:lnTo>
                  <a:pt x="2539" y="493"/>
                </a:lnTo>
                <a:lnTo>
                  <a:pt x="2568" y="488"/>
                </a:lnTo>
                <a:lnTo>
                  <a:pt x="2593" y="478"/>
                </a:lnTo>
                <a:lnTo>
                  <a:pt x="2614" y="470"/>
                </a:lnTo>
                <a:lnTo>
                  <a:pt x="2631" y="459"/>
                </a:lnTo>
                <a:lnTo>
                  <a:pt x="2647" y="449"/>
                </a:lnTo>
                <a:lnTo>
                  <a:pt x="2658" y="436"/>
                </a:lnTo>
                <a:lnTo>
                  <a:pt x="2666" y="424"/>
                </a:lnTo>
                <a:lnTo>
                  <a:pt x="2672" y="411"/>
                </a:lnTo>
                <a:lnTo>
                  <a:pt x="2673" y="395"/>
                </a:lnTo>
                <a:lnTo>
                  <a:pt x="2672" y="380"/>
                </a:lnTo>
                <a:lnTo>
                  <a:pt x="2668" y="363"/>
                </a:lnTo>
                <a:lnTo>
                  <a:pt x="2662" y="349"/>
                </a:lnTo>
                <a:lnTo>
                  <a:pt x="2652" y="336"/>
                </a:lnTo>
                <a:lnTo>
                  <a:pt x="2639" y="324"/>
                </a:lnTo>
                <a:lnTo>
                  <a:pt x="2625" y="313"/>
                </a:lnTo>
                <a:lnTo>
                  <a:pt x="2608" y="301"/>
                </a:lnTo>
                <a:lnTo>
                  <a:pt x="2587" y="294"/>
                </a:lnTo>
                <a:lnTo>
                  <a:pt x="2566" y="284"/>
                </a:lnTo>
                <a:lnTo>
                  <a:pt x="2541" y="278"/>
                </a:lnTo>
                <a:lnTo>
                  <a:pt x="2512" y="273"/>
                </a:lnTo>
                <a:lnTo>
                  <a:pt x="2481" y="267"/>
                </a:lnTo>
                <a:lnTo>
                  <a:pt x="2449" y="263"/>
                </a:lnTo>
                <a:lnTo>
                  <a:pt x="2412" y="261"/>
                </a:lnTo>
                <a:lnTo>
                  <a:pt x="2374" y="259"/>
                </a:lnTo>
                <a:lnTo>
                  <a:pt x="2334" y="259"/>
                </a:lnTo>
                <a:lnTo>
                  <a:pt x="1694" y="240"/>
                </a:lnTo>
                <a:close/>
                <a:moveTo>
                  <a:pt x="1060" y="109"/>
                </a:moveTo>
                <a:lnTo>
                  <a:pt x="1039" y="117"/>
                </a:lnTo>
                <a:lnTo>
                  <a:pt x="1018" y="125"/>
                </a:lnTo>
                <a:lnTo>
                  <a:pt x="993" y="134"/>
                </a:lnTo>
                <a:lnTo>
                  <a:pt x="966" y="146"/>
                </a:lnTo>
                <a:lnTo>
                  <a:pt x="937" y="159"/>
                </a:lnTo>
                <a:lnTo>
                  <a:pt x="906" y="173"/>
                </a:lnTo>
                <a:lnTo>
                  <a:pt x="872" y="188"/>
                </a:lnTo>
                <a:lnTo>
                  <a:pt x="835" y="203"/>
                </a:lnTo>
                <a:lnTo>
                  <a:pt x="799" y="221"/>
                </a:lnTo>
                <a:lnTo>
                  <a:pt x="757" y="240"/>
                </a:lnTo>
                <a:lnTo>
                  <a:pt x="714" y="261"/>
                </a:lnTo>
                <a:lnTo>
                  <a:pt x="670" y="282"/>
                </a:lnTo>
                <a:lnTo>
                  <a:pt x="622" y="305"/>
                </a:lnTo>
                <a:lnTo>
                  <a:pt x="572" y="328"/>
                </a:lnTo>
                <a:lnTo>
                  <a:pt x="520" y="353"/>
                </a:lnTo>
                <a:lnTo>
                  <a:pt x="467" y="380"/>
                </a:lnTo>
                <a:lnTo>
                  <a:pt x="150" y="380"/>
                </a:lnTo>
                <a:lnTo>
                  <a:pt x="123" y="480"/>
                </a:lnTo>
                <a:lnTo>
                  <a:pt x="104" y="580"/>
                </a:lnTo>
                <a:lnTo>
                  <a:pt x="92" y="679"/>
                </a:lnTo>
                <a:lnTo>
                  <a:pt x="88" y="779"/>
                </a:lnTo>
                <a:lnTo>
                  <a:pt x="92" y="875"/>
                </a:lnTo>
                <a:lnTo>
                  <a:pt x="102" y="971"/>
                </a:lnTo>
                <a:lnTo>
                  <a:pt x="119" y="1069"/>
                </a:lnTo>
                <a:lnTo>
                  <a:pt x="142" y="1169"/>
                </a:lnTo>
                <a:lnTo>
                  <a:pt x="378" y="1169"/>
                </a:lnTo>
                <a:lnTo>
                  <a:pt x="417" y="1228"/>
                </a:lnTo>
                <a:lnTo>
                  <a:pt x="459" y="1286"/>
                </a:lnTo>
                <a:lnTo>
                  <a:pt x="501" y="1340"/>
                </a:lnTo>
                <a:lnTo>
                  <a:pt x="545" y="1390"/>
                </a:lnTo>
                <a:lnTo>
                  <a:pt x="591" y="1438"/>
                </a:lnTo>
                <a:lnTo>
                  <a:pt x="640" y="1482"/>
                </a:lnTo>
                <a:lnTo>
                  <a:pt x="688" y="1524"/>
                </a:lnTo>
                <a:lnTo>
                  <a:pt x="737" y="1562"/>
                </a:lnTo>
                <a:lnTo>
                  <a:pt x="757" y="1566"/>
                </a:lnTo>
                <a:lnTo>
                  <a:pt x="774" y="1568"/>
                </a:lnTo>
                <a:lnTo>
                  <a:pt x="787" y="1570"/>
                </a:lnTo>
                <a:lnTo>
                  <a:pt x="797" y="1570"/>
                </a:lnTo>
                <a:lnTo>
                  <a:pt x="805" y="1570"/>
                </a:lnTo>
                <a:lnTo>
                  <a:pt x="814" y="1570"/>
                </a:lnTo>
                <a:lnTo>
                  <a:pt x="826" y="1568"/>
                </a:lnTo>
                <a:lnTo>
                  <a:pt x="839" y="1566"/>
                </a:lnTo>
                <a:lnTo>
                  <a:pt x="855" y="1564"/>
                </a:lnTo>
                <a:lnTo>
                  <a:pt x="872" y="1562"/>
                </a:lnTo>
                <a:lnTo>
                  <a:pt x="891" y="1559"/>
                </a:lnTo>
                <a:lnTo>
                  <a:pt x="912" y="1555"/>
                </a:lnTo>
                <a:lnTo>
                  <a:pt x="695" y="1441"/>
                </a:lnTo>
                <a:lnTo>
                  <a:pt x="720" y="1380"/>
                </a:lnTo>
                <a:lnTo>
                  <a:pt x="753" y="1322"/>
                </a:lnTo>
                <a:lnTo>
                  <a:pt x="791" y="1267"/>
                </a:lnTo>
                <a:lnTo>
                  <a:pt x="835" y="1215"/>
                </a:lnTo>
                <a:lnTo>
                  <a:pt x="728" y="1155"/>
                </a:lnTo>
                <a:lnTo>
                  <a:pt x="753" y="1107"/>
                </a:lnTo>
                <a:lnTo>
                  <a:pt x="778" y="1065"/>
                </a:lnTo>
                <a:lnTo>
                  <a:pt x="803" y="1027"/>
                </a:lnTo>
                <a:lnTo>
                  <a:pt x="830" y="994"/>
                </a:lnTo>
                <a:lnTo>
                  <a:pt x="855" y="967"/>
                </a:lnTo>
                <a:lnTo>
                  <a:pt x="883" y="942"/>
                </a:lnTo>
                <a:lnTo>
                  <a:pt x="910" y="925"/>
                </a:lnTo>
                <a:lnTo>
                  <a:pt x="939" y="912"/>
                </a:lnTo>
                <a:lnTo>
                  <a:pt x="816" y="846"/>
                </a:lnTo>
                <a:lnTo>
                  <a:pt x="832" y="812"/>
                </a:lnTo>
                <a:lnTo>
                  <a:pt x="849" y="781"/>
                </a:lnTo>
                <a:lnTo>
                  <a:pt x="864" y="750"/>
                </a:lnTo>
                <a:lnTo>
                  <a:pt x="882" y="724"/>
                </a:lnTo>
                <a:lnTo>
                  <a:pt x="899" y="697"/>
                </a:lnTo>
                <a:lnTo>
                  <a:pt x="918" y="674"/>
                </a:lnTo>
                <a:lnTo>
                  <a:pt x="937" y="653"/>
                </a:lnTo>
                <a:lnTo>
                  <a:pt x="956" y="633"/>
                </a:lnTo>
                <a:lnTo>
                  <a:pt x="976" y="616"/>
                </a:lnTo>
                <a:lnTo>
                  <a:pt x="997" y="603"/>
                </a:lnTo>
                <a:lnTo>
                  <a:pt x="1020" y="591"/>
                </a:lnTo>
                <a:lnTo>
                  <a:pt x="1041" y="580"/>
                </a:lnTo>
                <a:lnTo>
                  <a:pt x="1064" y="572"/>
                </a:lnTo>
                <a:lnTo>
                  <a:pt x="1087" y="566"/>
                </a:lnTo>
                <a:lnTo>
                  <a:pt x="1112" y="564"/>
                </a:lnTo>
                <a:lnTo>
                  <a:pt x="1137" y="562"/>
                </a:lnTo>
                <a:lnTo>
                  <a:pt x="1181" y="566"/>
                </a:lnTo>
                <a:lnTo>
                  <a:pt x="1225" y="578"/>
                </a:lnTo>
                <a:lnTo>
                  <a:pt x="1248" y="585"/>
                </a:lnTo>
                <a:lnTo>
                  <a:pt x="1271" y="597"/>
                </a:lnTo>
                <a:lnTo>
                  <a:pt x="1294" y="610"/>
                </a:lnTo>
                <a:lnTo>
                  <a:pt x="1317" y="624"/>
                </a:lnTo>
                <a:lnTo>
                  <a:pt x="1477" y="622"/>
                </a:lnTo>
                <a:lnTo>
                  <a:pt x="1431" y="599"/>
                </a:lnTo>
                <a:lnTo>
                  <a:pt x="1385" y="568"/>
                </a:lnTo>
                <a:lnTo>
                  <a:pt x="1335" y="530"/>
                </a:lnTo>
                <a:lnTo>
                  <a:pt x="1285" y="484"/>
                </a:lnTo>
                <a:lnTo>
                  <a:pt x="1248" y="505"/>
                </a:lnTo>
                <a:lnTo>
                  <a:pt x="1214" y="524"/>
                </a:lnTo>
                <a:lnTo>
                  <a:pt x="1177" y="539"/>
                </a:lnTo>
                <a:lnTo>
                  <a:pt x="1139" y="553"/>
                </a:lnTo>
                <a:lnTo>
                  <a:pt x="1102" y="562"/>
                </a:lnTo>
                <a:lnTo>
                  <a:pt x="1064" y="570"/>
                </a:lnTo>
                <a:lnTo>
                  <a:pt x="1026" y="574"/>
                </a:lnTo>
                <a:lnTo>
                  <a:pt x="987" y="576"/>
                </a:lnTo>
                <a:lnTo>
                  <a:pt x="947" y="572"/>
                </a:lnTo>
                <a:lnTo>
                  <a:pt x="943" y="466"/>
                </a:lnTo>
                <a:lnTo>
                  <a:pt x="972" y="468"/>
                </a:lnTo>
                <a:lnTo>
                  <a:pt x="1014" y="466"/>
                </a:lnTo>
                <a:lnTo>
                  <a:pt x="1056" y="461"/>
                </a:lnTo>
                <a:lnTo>
                  <a:pt x="1099" y="453"/>
                </a:lnTo>
                <a:lnTo>
                  <a:pt x="1141" y="441"/>
                </a:lnTo>
                <a:lnTo>
                  <a:pt x="1181" y="424"/>
                </a:lnTo>
                <a:lnTo>
                  <a:pt x="1221" y="405"/>
                </a:lnTo>
                <a:lnTo>
                  <a:pt x="1262" y="384"/>
                </a:lnTo>
                <a:lnTo>
                  <a:pt x="1302" y="357"/>
                </a:lnTo>
                <a:lnTo>
                  <a:pt x="1339" y="401"/>
                </a:lnTo>
                <a:lnTo>
                  <a:pt x="1375" y="440"/>
                </a:lnTo>
                <a:lnTo>
                  <a:pt x="1414" y="474"/>
                </a:lnTo>
                <a:lnTo>
                  <a:pt x="1450" y="499"/>
                </a:lnTo>
                <a:lnTo>
                  <a:pt x="1487" y="520"/>
                </a:lnTo>
                <a:lnTo>
                  <a:pt x="1525" y="536"/>
                </a:lnTo>
                <a:lnTo>
                  <a:pt x="1561" y="545"/>
                </a:lnTo>
                <a:lnTo>
                  <a:pt x="1600" y="547"/>
                </a:lnTo>
                <a:lnTo>
                  <a:pt x="1623" y="547"/>
                </a:lnTo>
                <a:lnTo>
                  <a:pt x="1646" y="543"/>
                </a:lnTo>
                <a:lnTo>
                  <a:pt x="1669" y="536"/>
                </a:lnTo>
                <a:lnTo>
                  <a:pt x="1692" y="526"/>
                </a:lnTo>
                <a:lnTo>
                  <a:pt x="1713" y="514"/>
                </a:lnTo>
                <a:lnTo>
                  <a:pt x="1734" y="501"/>
                </a:lnTo>
                <a:lnTo>
                  <a:pt x="1753" y="484"/>
                </a:lnTo>
                <a:lnTo>
                  <a:pt x="1773" y="464"/>
                </a:lnTo>
                <a:lnTo>
                  <a:pt x="1502" y="155"/>
                </a:lnTo>
                <a:lnTo>
                  <a:pt x="1060" y="109"/>
                </a:lnTo>
                <a:close/>
                <a:moveTo>
                  <a:pt x="1054" y="0"/>
                </a:moveTo>
                <a:lnTo>
                  <a:pt x="1536" y="54"/>
                </a:lnTo>
                <a:lnTo>
                  <a:pt x="1608" y="134"/>
                </a:lnTo>
                <a:lnTo>
                  <a:pt x="2318" y="154"/>
                </a:lnTo>
                <a:lnTo>
                  <a:pt x="2378" y="155"/>
                </a:lnTo>
                <a:lnTo>
                  <a:pt x="2431" y="157"/>
                </a:lnTo>
                <a:lnTo>
                  <a:pt x="2481" y="161"/>
                </a:lnTo>
                <a:lnTo>
                  <a:pt x="2528" y="167"/>
                </a:lnTo>
                <a:lnTo>
                  <a:pt x="2568" y="175"/>
                </a:lnTo>
                <a:lnTo>
                  <a:pt x="2602" y="184"/>
                </a:lnTo>
                <a:lnTo>
                  <a:pt x="2635" y="196"/>
                </a:lnTo>
                <a:lnTo>
                  <a:pt x="2662" y="207"/>
                </a:lnTo>
                <a:lnTo>
                  <a:pt x="2683" y="223"/>
                </a:lnTo>
                <a:lnTo>
                  <a:pt x="2704" y="240"/>
                </a:lnTo>
                <a:lnTo>
                  <a:pt x="2720" y="259"/>
                </a:lnTo>
                <a:lnTo>
                  <a:pt x="2735" y="280"/>
                </a:lnTo>
                <a:lnTo>
                  <a:pt x="2745" y="305"/>
                </a:lnTo>
                <a:lnTo>
                  <a:pt x="2752" y="332"/>
                </a:lnTo>
                <a:lnTo>
                  <a:pt x="2756" y="361"/>
                </a:lnTo>
                <a:lnTo>
                  <a:pt x="2758" y="393"/>
                </a:lnTo>
                <a:lnTo>
                  <a:pt x="2756" y="420"/>
                </a:lnTo>
                <a:lnTo>
                  <a:pt x="2752" y="447"/>
                </a:lnTo>
                <a:lnTo>
                  <a:pt x="2745" y="470"/>
                </a:lnTo>
                <a:lnTo>
                  <a:pt x="2733" y="493"/>
                </a:lnTo>
                <a:lnTo>
                  <a:pt x="2720" y="514"/>
                </a:lnTo>
                <a:lnTo>
                  <a:pt x="2700" y="532"/>
                </a:lnTo>
                <a:lnTo>
                  <a:pt x="2681" y="549"/>
                </a:lnTo>
                <a:lnTo>
                  <a:pt x="2656" y="564"/>
                </a:lnTo>
                <a:lnTo>
                  <a:pt x="2629" y="578"/>
                </a:lnTo>
                <a:lnTo>
                  <a:pt x="2599" y="589"/>
                </a:lnTo>
                <a:lnTo>
                  <a:pt x="2566" y="601"/>
                </a:lnTo>
                <a:lnTo>
                  <a:pt x="2529" y="608"/>
                </a:lnTo>
                <a:lnTo>
                  <a:pt x="2489" y="614"/>
                </a:lnTo>
                <a:lnTo>
                  <a:pt x="2447" y="618"/>
                </a:lnTo>
                <a:lnTo>
                  <a:pt x="2401" y="622"/>
                </a:lnTo>
                <a:lnTo>
                  <a:pt x="2353" y="622"/>
                </a:lnTo>
                <a:lnTo>
                  <a:pt x="1725" y="631"/>
                </a:lnTo>
                <a:lnTo>
                  <a:pt x="1661" y="649"/>
                </a:lnTo>
                <a:lnTo>
                  <a:pt x="1682" y="666"/>
                </a:lnTo>
                <a:lnTo>
                  <a:pt x="1700" y="685"/>
                </a:lnTo>
                <a:lnTo>
                  <a:pt x="1715" y="704"/>
                </a:lnTo>
                <a:lnTo>
                  <a:pt x="1727" y="727"/>
                </a:lnTo>
                <a:lnTo>
                  <a:pt x="1736" y="750"/>
                </a:lnTo>
                <a:lnTo>
                  <a:pt x="1744" y="777"/>
                </a:lnTo>
                <a:lnTo>
                  <a:pt x="1748" y="804"/>
                </a:lnTo>
                <a:lnTo>
                  <a:pt x="1748" y="835"/>
                </a:lnTo>
                <a:lnTo>
                  <a:pt x="1746" y="875"/>
                </a:lnTo>
                <a:lnTo>
                  <a:pt x="1738" y="912"/>
                </a:lnTo>
                <a:lnTo>
                  <a:pt x="1727" y="944"/>
                </a:lnTo>
                <a:lnTo>
                  <a:pt x="1709" y="973"/>
                </a:lnTo>
                <a:lnTo>
                  <a:pt x="1688" y="1000"/>
                </a:lnTo>
                <a:lnTo>
                  <a:pt x="1661" y="1021"/>
                </a:lnTo>
                <a:lnTo>
                  <a:pt x="1631" y="1040"/>
                </a:lnTo>
                <a:lnTo>
                  <a:pt x="1596" y="1056"/>
                </a:lnTo>
                <a:lnTo>
                  <a:pt x="1604" y="1084"/>
                </a:lnTo>
                <a:lnTo>
                  <a:pt x="1609" y="1111"/>
                </a:lnTo>
                <a:lnTo>
                  <a:pt x="1613" y="1136"/>
                </a:lnTo>
                <a:lnTo>
                  <a:pt x="1615" y="1159"/>
                </a:lnTo>
                <a:lnTo>
                  <a:pt x="1611" y="1207"/>
                </a:lnTo>
                <a:lnTo>
                  <a:pt x="1602" y="1251"/>
                </a:lnTo>
                <a:lnTo>
                  <a:pt x="1586" y="1290"/>
                </a:lnTo>
                <a:lnTo>
                  <a:pt x="1565" y="1321"/>
                </a:lnTo>
                <a:lnTo>
                  <a:pt x="1538" y="1347"/>
                </a:lnTo>
                <a:lnTo>
                  <a:pt x="1504" y="1370"/>
                </a:lnTo>
                <a:lnTo>
                  <a:pt x="1463" y="1386"/>
                </a:lnTo>
                <a:lnTo>
                  <a:pt x="1417" y="1397"/>
                </a:lnTo>
                <a:lnTo>
                  <a:pt x="1419" y="1416"/>
                </a:lnTo>
                <a:lnTo>
                  <a:pt x="1419" y="1432"/>
                </a:lnTo>
                <a:lnTo>
                  <a:pt x="1417" y="1459"/>
                </a:lnTo>
                <a:lnTo>
                  <a:pt x="1415" y="1486"/>
                </a:lnTo>
                <a:lnTo>
                  <a:pt x="1410" y="1511"/>
                </a:lnTo>
                <a:lnTo>
                  <a:pt x="1402" y="1532"/>
                </a:lnTo>
                <a:lnTo>
                  <a:pt x="1394" y="1553"/>
                </a:lnTo>
                <a:lnTo>
                  <a:pt x="1383" y="1572"/>
                </a:lnTo>
                <a:lnTo>
                  <a:pt x="1369" y="1589"/>
                </a:lnTo>
                <a:lnTo>
                  <a:pt x="1354" y="1605"/>
                </a:lnTo>
                <a:lnTo>
                  <a:pt x="1337" y="1618"/>
                </a:lnTo>
                <a:lnTo>
                  <a:pt x="1317" y="1630"/>
                </a:lnTo>
                <a:lnTo>
                  <a:pt x="1296" y="1639"/>
                </a:lnTo>
                <a:lnTo>
                  <a:pt x="1273" y="1649"/>
                </a:lnTo>
                <a:lnTo>
                  <a:pt x="1246" y="1654"/>
                </a:lnTo>
                <a:lnTo>
                  <a:pt x="1220" y="1658"/>
                </a:lnTo>
                <a:lnTo>
                  <a:pt x="1191" y="1662"/>
                </a:lnTo>
                <a:lnTo>
                  <a:pt x="1158" y="1662"/>
                </a:lnTo>
                <a:lnTo>
                  <a:pt x="1099" y="1658"/>
                </a:lnTo>
                <a:lnTo>
                  <a:pt x="1033" y="1624"/>
                </a:lnTo>
                <a:lnTo>
                  <a:pt x="979" y="1643"/>
                </a:lnTo>
                <a:lnTo>
                  <a:pt x="928" y="1656"/>
                </a:lnTo>
                <a:lnTo>
                  <a:pt x="876" y="1664"/>
                </a:lnTo>
                <a:lnTo>
                  <a:pt x="828" y="1666"/>
                </a:lnTo>
                <a:lnTo>
                  <a:pt x="809" y="1666"/>
                </a:lnTo>
                <a:lnTo>
                  <a:pt x="785" y="1664"/>
                </a:lnTo>
                <a:lnTo>
                  <a:pt x="757" y="1660"/>
                </a:lnTo>
                <a:lnTo>
                  <a:pt x="722" y="1656"/>
                </a:lnTo>
                <a:lnTo>
                  <a:pt x="676" y="1626"/>
                </a:lnTo>
                <a:lnTo>
                  <a:pt x="628" y="1591"/>
                </a:lnTo>
                <a:lnTo>
                  <a:pt x="578" y="1553"/>
                </a:lnTo>
                <a:lnTo>
                  <a:pt x="530" y="1509"/>
                </a:lnTo>
                <a:lnTo>
                  <a:pt x="482" y="1459"/>
                </a:lnTo>
                <a:lnTo>
                  <a:pt x="432" y="1403"/>
                </a:lnTo>
                <a:lnTo>
                  <a:pt x="382" y="1344"/>
                </a:lnTo>
                <a:lnTo>
                  <a:pt x="332" y="1280"/>
                </a:lnTo>
                <a:lnTo>
                  <a:pt x="83" y="1280"/>
                </a:lnTo>
                <a:lnTo>
                  <a:pt x="63" y="1219"/>
                </a:lnTo>
                <a:lnTo>
                  <a:pt x="46" y="1157"/>
                </a:lnTo>
                <a:lnTo>
                  <a:pt x="33" y="1096"/>
                </a:lnTo>
                <a:lnTo>
                  <a:pt x="19" y="1036"/>
                </a:lnTo>
                <a:lnTo>
                  <a:pt x="11" y="975"/>
                </a:lnTo>
                <a:lnTo>
                  <a:pt x="4" y="914"/>
                </a:lnTo>
                <a:lnTo>
                  <a:pt x="0" y="854"/>
                </a:lnTo>
                <a:lnTo>
                  <a:pt x="0" y="793"/>
                </a:lnTo>
                <a:lnTo>
                  <a:pt x="0" y="724"/>
                </a:lnTo>
                <a:lnTo>
                  <a:pt x="6" y="656"/>
                </a:lnTo>
                <a:lnTo>
                  <a:pt x="11" y="591"/>
                </a:lnTo>
                <a:lnTo>
                  <a:pt x="23" y="526"/>
                </a:lnTo>
                <a:lnTo>
                  <a:pt x="34" y="463"/>
                </a:lnTo>
                <a:lnTo>
                  <a:pt x="52" y="399"/>
                </a:lnTo>
                <a:lnTo>
                  <a:pt x="69" y="336"/>
                </a:lnTo>
                <a:lnTo>
                  <a:pt x="92" y="276"/>
                </a:lnTo>
                <a:lnTo>
                  <a:pt x="465" y="276"/>
                </a:lnTo>
                <a:lnTo>
                  <a:pt x="530" y="236"/>
                </a:lnTo>
                <a:lnTo>
                  <a:pt x="599" y="200"/>
                </a:lnTo>
                <a:lnTo>
                  <a:pt x="668" y="163"/>
                </a:lnTo>
                <a:lnTo>
                  <a:pt x="741" y="129"/>
                </a:lnTo>
                <a:lnTo>
                  <a:pt x="816" y="94"/>
                </a:lnTo>
                <a:lnTo>
                  <a:pt x="893" y="61"/>
                </a:lnTo>
                <a:lnTo>
                  <a:pt x="972" y="31"/>
                </a:lnTo>
                <a:lnTo>
                  <a:pt x="1054" y="0"/>
                </a:lnTo>
                <a:close/>
              </a:path>
            </a:pathLst>
          </a:custGeom>
          <a:gradFill rotWithShape="1">
            <a:gsLst>
              <a:gs pos="0">
                <a:srgbClr val="014D98"/>
              </a:gs>
              <a:gs pos="80000">
                <a:srgbClr val="0566C8"/>
              </a:gs>
              <a:gs pos="100000">
                <a:srgbClr val="0267CC"/>
              </a:gs>
            </a:gsLst>
            <a:lin ang="5400000"/>
          </a:gradFill>
          <a:ln w="9525" cmpd="sng">
            <a:solidFill>
              <a:schemeClr val="bg1"/>
            </a:solidFill>
            <a:miter lim="800000"/>
            <a:headEnd/>
            <a:tailEnd/>
          </a:ln>
          <a:effectLst>
            <a:outerShdw dist="23000" dir="5400000" algn="ctr" rotWithShape="0">
              <a:srgbClr val="000000">
                <a:alpha val="34000"/>
              </a:srgbClr>
            </a:outerShdw>
          </a:effectLst>
        </p:spPr>
        <p:txBody>
          <a:bodyPr lIns="47972" tIns="23986" rIns="47972" bIns="23986"/>
          <a:lstStyle/>
          <a:p>
            <a:endParaRPr lang="zh-CN" altLang="en-US"/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340" b="19769"/>
          <a:stretch/>
        </p:blipFill>
        <p:spPr bwMode="auto">
          <a:xfrm>
            <a:off x="317594" y="221624"/>
            <a:ext cx="2071646" cy="830429"/>
          </a:xfrm>
          <a:prstGeom prst="rect">
            <a:avLst/>
          </a:prstGeom>
          <a:noFill/>
          <a:ln w="38100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9730" y="1491629"/>
            <a:ext cx="5598644" cy="1209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52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002" y="3003552"/>
            <a:ext cx="5998353" cy="986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78077536"/>
      </p:ext>
    </p:extLst>
  </p:cSld>
  <p:clrMapOvr>
    <a:masterClrMapping/>
  </p:clrMapOvr>
  <p:transition spd="slow">
    <p:circl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6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76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76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76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76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76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249"/>
  <p:tag name="KSO_WM_TAG_VERSION" val="1.0"/>
  <p:tag name="KSO_WM_SLIDE_ID" val="custom160302_28"/>
  <p:tag name="KSO_WM_SLIDE_INDEX" val="28"/>
  <p:tag name="KSO_WM_SLIDE_ITEM_CNT" val="3"/>
  <p:tag name="KSO_WM_SLIDE_LAYOUT" val="a_f_d"/>
  <p:tag name="KSO_WM_SLIDE_LAYOUT_CNT" val="1_1_2"/>
  <p:tag name="KSO_WM_SLIDE_TYPE" val="text"/>
  <p:tag name="KSO_WM_BEAUTIFY_FLAG" val="#wm#"/>
  <p:tag name="KSO_WM_SLIDE_POSITION" val="66*133"/>
  <p:tag name="KSO_WM_SLIDE_SIZE" val="802*36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302"/>
  <p:tag name="KSO_WM_UNIT_TYPE" val="f"/>
  <p:tag name="KSO_WM_UNIT_INDEX" val="1"/>
  <p:tag name="KSO_WM_UNIT_ID" val="custom160302_28*f*1"/>
  <p:tag name="KSO_WM_UNIT_CLEAR" val="1"/>
  <p:tag name="KSO_WM_UNIT_LAYERLEVEL" val="1"/>
  <p:tag name="KSO_WM_UNIT_VALUE" val="120"/>
  <p:tag name="KSO_WM_UNIT_HIGHLIGHT" val="0"/>
  <p:tag name="KSO_WM_UNIT_COMPATIBLE" val="0"/>
  <p:tag name="KSO_WM_UNIT_PRESET_TEXT_INDEX" val="3"/>
  <p:tag name="KSO_WM_UNIT_PRESET_TEXT_LEN" val="8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UNIT_TYPE" val="i"/>
  <p:tag name="KSO_WM_UNIT_ID" val="custom160302_28*i*1"/>
  <p:tag name="KSO_WM_TEMPLATE_CATEGORY" val="custom"/>
  <p:tag name="KSO_WM_TEMPLATE_INDEX" val="16030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249"/>
  <p:tag name="KSO_WM_TAG_VERSION" val="1.0"/>
  <p:tag name="KSO_WM_SLIDE_ID" val="custom160302_5"/>
  <p:tag name="KSO_WM_SLIDE_INDEX" val="5"/>
  <p:tag name="KSO_WM_SLIDE_ITEM_CNT" val="2"/>
  <p:tag name="KSO_WM_SLIDE_LAYOUT" val="a_f_d"/>
  <p:tag name="KSO_WM_SLIDE_LAYOUT_CNT" val="1_1_1"/>
  <p:tag name="KSO_WM_SLIDE_TYPE" val="text"/>
  <p:tag name="KSO_WM_BEAUTIFY_FLAG" val="#wm#"/>
  <p:tag name="KSO_WM_SLIDE_POSITION" val="122*112"/>
  <p:tag name="KSO_WM_SLIDE_SIZE" val="715*41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249"/>
  <p:tag name="KSO_WM_TAG_VERSION" val="1.0"/>
  <p:tag name="KSO_WM_SLIDE_ID" val="custom160302_5"/>
  <p:tag name="KSO_WM_SLIDE_INDEX" val="5"/>
  <p:tag name="KSO_WM_SLIDE_ITEM_CNT" val="2"/>
  <p:tag name="KSO_WM_SLIDE_LAYOUT" val="a_f_d"/>
  <p:tag name="KSO_WM_SLIDE_LAYOUT_CNT" val="1_1_1"/>
  <p:tag name="KSO_WM_SLIDE_TYPE" val="text"/>
  <p:tag name="KSO_WM_BEAUTIFY_FLAG" val="#wm#"/>
  <p:tag name="KSO_WM_SLIDE_POSITION" val="122*112"/>
  <p:tag name="KSO_WM_SLIDE_SIZE" val="715*41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249"/>
  <p:tag name="KSO_WM_TAG_VERSION" val="1.0"/>
  <p:tag name="KSO_WM_SLIDE_ID" val="custom160302_28"/>
  <p:tag name="KSO_WM_SLIDE_INDEX" val="28"/>
  <p:tag name="KSO_WM_SLIDE_ITEM_CNT" val="3"/>
  <p:tag name="KSO_WM_SLIDE_LAYOUT" val="a_f_d"/>
  <p:tag name="KSO_WM_SLIDE_LAYOUT_CNT" val="1_1_2"/>
  <p:tag name="KSO_WM_SLIDE_TYPE" val="text"/>
  <p:tag name="KSO_WM_BEAUTIFY_FLAG" val="#wm#"/>
  <p:tag name="KSO_WM_SLIDE_POSITION" val="66*133"/>
  <p:tag name="KSO_WM_SLIDE_SIZE" val="802*36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249"/>
  <p:tag name="KSO_WM_TAG_VERSION" val="1.0"/>
  <p:tag name="KSO_WM_SLIDE_ID" val="custom160302_28"/>
  <p:tag name="KSO_WM_SLIDE_INDEX" val="28"/>
  <p:tag name="KSO_WM_SLIDE_ITEM_CNT" val="3"/>
  <p:tag name="KSO_WM_SLIDE_LAYOUT" val="a_f_d"/>
  <p:tag name="KSO_WM_SLIDE_LAYOUT_CNT" val="1_1_2"/>
  <p:tag name="KSO_WM_SLIDE_TYPE" val="text"/>
  <p:tag name="KSO_WM_BEAUTIFY_FLAG" val="#wm#"/>
  <p:tag name="KSO_WM_SLIDE_POSITION" val="66*133"/>
  <p:tag name="KSO_WM_SLIDE_SIZE" val="802*36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249"/>
  <p:tag name="KSO_WM_TAG_VERSION" val="1.0"/>
  <p:tag name="KSO_WM_SLIDE_ID" val="custom160302_28"/>
  <p:tag name="KSO_WM_SLIDE_INDEX" val="28"/>
  <p:tag name="KSO_WM_SLIDE_ITEM_CNT" val="3"/>
  <p:tag name="KSO_WM_SLIDE_LAYOUT" val="a_f_d"/>
  <p:tag name="KSO_WM_SLIDE_LAYOUT_CNT" val="1_1_2"/>
  <p:tag name="KSO_WM_SLIDE_TYPE" val="text"/>
  <p:tag name="KSO_WM_BEAUTIFY_FLAG" val="#wm#"/>
  <p:tag name="KSO_WM_SLIDE_POSITION" val="66*133"/>
  <p:tag name="KSO_WM_SLIDE_SIZE" val="802*36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249"/>
  <p:tag name="KSO_WM_TAG_VERSION" val="1.0"/>
  <p:tag name="KSO_WM_SLIDE_ID" val="custom160302_28"/>
  <p:tag name="KSO_WM_SLIDE_INDEX" val="28"/>
  <p:tag name="KSO_WM_SLIDE_ITEM_CNT" val="3"/>
  <p:tag name="KSO_WM_SLIDE_LAYOUT" val="a_f_d"/>
  <p:tag name="KSO_WM_SLIDE_LAYOUT_CNT" val="1_1_2"/>
  <p:tag name="KSO_WM_SLIDE_TYPE" val="text"/>
  <p:tag name="KSO_WM_BEAUTIFY_FLAG" val="#wm#"/>
  <p:tag name="KSO_WM_SLIDE_POSITION" val="66*133"/>
  <p:tag name="KSO_WM_SLIDE_SIZE" val="802*36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249"/>
  <p:tag name="KSO_WM_TAG_VERSION" val="1.0"/>
  <p:tag name="KSO_WM_SLIDE_ID" val="custom160302_28"/>
  <p:tag name="KSO_WM_SLIDE_INDEX" val="28"/>
  <p:tag name="KSO_WM_SLIDE_ITEM_CNT" val="3"/>
  <p:tag name="KSO_WM_SLIDE_LAYOUT" val="a_f_d"/>
  <p:tag name="KSO_WM_SLIDE_LAYOUT_CNT" val="1_1_2"/>
  <p:tag name="KSO_WM_SLIDE_TYPE" val="text"/>
  <p:tag name="KSO_WM_BEAUTIFY_FLAG" val="#wm#"/>
  <p:tag name="KSO_WM_SLIDE_POSITION" val="66*133"/>
  <p:tag name="KSO_WM_SLIDE_SIZE" val="802*36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33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302"/>
  <p:tag name="KSO_WM_UNIT_TYPE" val="a"/>
  <p:tag name="KSO_WM_UNIT_INDEX" val="1"/>
  <p:tag name="KSO_WM_UNIT_ID" val="custom160302_28*a*1"/>
  <p:tag name="KSO_WM_UNIT_CLEAR" val="1"/>
  <p:tag name="KSO_WM_UNIT_LAYERLEVEL" val="1"/>
  <p:tag name="KSO_WM_UNIT_VALUE" val="25"/>
  <p:tag name="KSO_WM_UNIT_ISCONTENTSTITLE" val="0"/>
  <p:tag name="KSO_WM_UNIT_HIGHLIGHT" val="0"/>
  <p:tag name="KSO_WM_UNIT_COMPATIBLE" val="0"/>
  <p:tag name="KSO_WM_UNIT_PRESET_TEXT_INDEX" val="3"/>
  <p:tag name="KSO_WM_UNIT_PRESET_TEXT_LEN" val="2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33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302"/>
  <p:tag name="KSO_WM_UNIT_TYPE" val="a"/>
  <p:tag name="KSO_WM_UNIT_INDEX" val="1"/>
  <p:tag name="KSO_WM_UNIT_ID" val="custom160302_28*a*1"/>
  <p:tag name="KSO_WM_UNIT_CLEAR" val="1"/>
  <p:tag name="KSO_WM_UNIT_LAYERLEVEL" val="1"/>
  <p:tag name="KSO_WM_UNIT_VALUE" val="25"/>
  <p:tag name="KSO_WM_UNIT_ISCONTENTSTITLE" val="0"/>
  <p:tag name="KSO_WM_UNIT_HIGHLIGHT" val="0"/>
  <p:tag name="KSO_WM_UNIT_COMPATIBLE" val="0"/>
  <p:tag name="KSO_WM_UNIT_PRESET_TEXT_INDEX" val="3"/>
  <p:tag name="KSO_WM_UNIT_PRESET_TEXT_LEN" val="2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33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302"/>
  <p:tag name="KSO_WM_UNIT_TYPE" val="a"/>
  <p:tag name="KSO_WM_UNIT_INDEX" val="1"/>
  <p:tag name="KSO_WM_UNIT_ID" val="custom160302_28*a*1"/>
  <p:tag name="KSO_WM_UNIT_CLEAR" val="1"/>
  <p:tag name="KSO_WM_UNIT_LAYERLEVEL" val="1"/>
  <p:tag name="KSO_WM_UNIT_VALUE" val="25"/>
  <p:tag name="KSO_WM_UNIT_ISCONTENTSTITLE" val="0"/>
  <p:tag name="KSO_WM_UNIT_HIGHLIGHT" val="0"/>
  <p:tag name="KSO_WM_UNIT_COMPATIBLE" val="0"/>
  <p:tag name="KSO_WM_UNIT_PRESET_TEXT_INDEX" val="3"/>
  <p:tag name="KSO_WM_UNIT_PRESET_TEXT_LEN" val="2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主题">
  <a:themeElements>
    <a:clrScheme name="07">
      <a:dk1>
        <a:sysClr val="windowText" lastClr="000000"/>
      </a:dk1>
      <a:lt1>
        <a:sysClr val="window" lastClr="FFFFFF"/>
      </a:lt1>
      <a:dk2>
        <a:srgbClr val="F03063"/>
      </a:dk2>
      <a:lt2>
        <a:srgbClr val="DF2C5A"/>
      </a:lt2>
      <a:accent1>
        <a:srgbClr val="00A9F3"/>
      </a:accent1>
      <a:accent2>
        <a:srgbClr val="FEED45"/>
      </a:accent2>
      <a:accent3>
        <a:srgbClr val="0FB249"/>
      </a:accent3>
      <a:accent4>
        <a:srgbClr val="92D14F"/>
      </a:accent4>
      <a:accent5>
        <a:srgbClr val="89C54B"/>
      </a:accent5>
      <a:accent6>
        <a:srgbClr val="81B7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000" b="1" dirty="0" smtClean="0">
            <a:solidFill>
              <a:schemeClr val="bg1"/>
            </a:solidFill>
            <a:latin typeface="方正姚体" panose="02010601030101010101" pitchFamily="2" charset="-122"/>
            <a:ea typeface="方正姚体" panose="02010601030101010101" pitchFamily="2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FFFFFF"/>
    </a:accent3>
    <a:accent4>
      <a:srgbClr val="000000"/>
    </a:accent4>
    <a:accent5>
      <a:srgbClr val="B5CBE7"/>
    </a:accent5>
    <a:accent6>
      <a:srgbClr val="D7712B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6701</TotalTime>
  <Words>1032</Words>
  <Application>Microsoft Macintosh PowerPoint</Application>
  <PresentationFormat>全屏显示(16:9)</PresentationFormat>
  <Paragraphs>232</Paragraphs>
  <Slides>68</Slides>
  <Notes>48</Notes>
  <HiddenSlides>0</HiddenSlides>
  <MMClips>1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8</vt:i4>
      </vt:variant>
    </vt:vector>
  </HeadingPairs>
  <TitlesOfParts>
    <vt:vector size="85" baseType="lpstr">
      <vt:lpstr>Arial Unicode MS</vt:lpstr>
      <vt:lpstr>Calibri</vt:lpstr>
      <vt:lpstr>Calibri Light</vt:lpstr>
      <vt:lpstr>Century Schoolbook</vt:lpstr>
      <vt:lpstr>Times New Roman</vt:lpstr>
      <vt:lpstr>Wingdings</vt:lpstr>
      <vt:lpstr>方正姚体</vt:lpstr>
      <vt:lpstr>仿宋</vt:lpstr>
      <vt:lpstr>黑体</vt:lpstr>
      <vt:lpstr>华文隶书</vt:lpstr>
      <vt:lpstr>华文细黑</vt:lpstr>
      <vt:lpstr>华文新魏</vt:lpstr>
      <vt:lpstr>宋体</vt:lpstr>
      <vt:lpstr>微软雅黑</vt:lpstr>
      <vt:lpstr>Arial</vt:lpstr>
      <vt:lpstr>1_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chenchen</dc:creator>
  <cp:lastModifiedBy>huimin zhang</cp:lastModifiedBy>
  <cp:revision>581</cp:revision>
  <dcterms:modified xsi:type="dcterms:W3CDTF">2016-06-22T03:29:42Z</dcterms:modified>
</cp:coreProperties>
</file>